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diagrams/drawing4.xml" ContentType="application/vnd.ms-office.drawingml.diagramDrawing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1"/>
    <p:sldMasterId id="2147484048" r:id="rId2"/>
  </p:sldMasterIdLst>
  <p:notesMasterIdLst>
    <p:notesMasterId r:id="rId18"/>
  </p:notesMasterIdLst>
  <p:sldIdLst>
    <p:sldId id="1196" r:id="rId3"/>
    <p:sldId id="1221" r:id="rId4"/>
    <p:sldId id="1198" r:id="rId5"/>
    <p:sldId id="1199" r:id="rId6"/>
    <p:sldId id="1235" r:id="rId7"/>
    <p:sldId id="1232" r:id="rId8"/>
    <p:sldId id="1233" r:id="rId9"/>
    <p:sldId id="1236" r:id="rId10"/>
    <p:sldId id="1239" r:id="rId11"/>
    <p:sldId id="1240" r:id="rId12"/>
    <p:sldId id="1241" r:id="rId13"/>
    <p:sldId id="1242" r:id="rId14"/>
    <p:sldId id="1243" r:id="rId15"/>
    <p:sldId id="1244" r:id="rId16"/>
    <p:sldId id="1234" r:id="rId17"/>
  </p:sldIdLst>
  <p:sldSz cx="9144000" cy="6858000" type="screen4x3"/>
  <p:notesSz cx="6858000" cy="914400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45608"/>
    <a:srgbClr val="35C142"/>
    <a:srgbClr val="FF0066"/>
    <a:srgbClr val="00CC99"/>
    <a:srgbClr val="00FF00"/>
    <a:srgbClr val="000000"/>
    <a:srgbClr val="F9F9F9"/>
    <a:srgbClr val="EAEAEA"/>
    <a:srgbClr val="FFFF00"/>
    <a:srgbClr val="00F66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33359" autoAdjust="0"/>
    <p:restoredTop sz="94737" autoAdjust="0"/>
  </p:normalViewPr>
  <p:slideViewPr>
    <p:cSldViewPr>
      <p:cViewPr varScale="1">
        <p:scale>
          <a:sx n="82" d="100"/>
          <a:sy n="82" d="100"/>
        </p:scale>
        <p:origin x="-708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7750D9-4288-430B-82C9-5DEF317A5786}" type="doc">
      <dgm:prSet loTypeId="urn:microsoft.com/office/officeart/2005/8/layout/radial6" loCatId="cycle" qsTypeId="urn:microsoft.com/office/officeart/2005/8/quickstyle/3d1" qsCatId="3D" csTypeId="urn:microsoft.com/office/officeart/2005/8/colors/colorful5" csCatId="colorful" phldr="1"/>
      <dgm:spPr/>
      <dgm:t>
        <a:bodyPr/>
        <a:lstStyle/>
        <a:p>
          <a:endParaRPr lang="id-ID"/>
        </a:p>
      </dgm:t>
    </dgm:pt>
    <dgm:pt modelId="{A2C438B0-1573-4EC7-B5BB-6AE85F9E344A}">
      <dgm:prSet phldrT="[Text]" custT="1"/>
      <dgm:spPr/>
      <dgm:t>
        <a:bodyPr/>
        <a:lstStyle/>
        <a:p>
          <a:r>
            <a:rPr lang="id-ID" sz="1600" b="0" dirty="0" smtClean="0"/>
            <a:t>MOBILITY PROGRAM</a:t>
          </a:r>
          <a:endParaRPr lang="id-ID" sz="1600" b="0" dirty="0"/>
        </a:p>
      </dgm:t>
    </dgm:pt>
    <dgm:pt modelId="{0570C650-2DB9-414D-A109-4A29228D21FE}" type="parTrans" cxnId="{BCD8179E-2F40-46DE-A0D0-9D66E957906D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2660C118-18F2-485E-A2BC-C70622F91840}" type="sibTrans" cxnId="{BCD8179E-2F40-46DE-A0D0-9D66E957906D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0273E94A-EAD0-4427-9CF9-83BFB88BCB84}">
      <dgm:prSet phldrT="[Text]" custT="1"/>
      <dgm:spPr/>
      <dgm:t>
        <a:bodyPr/>
        <a:lstStyle/>
        <a:p>
          <a:r>
            <a:rPr lang="id-ID" sz="1600" b="0" dirty="0" smtClean="0"/>
            <a:t>JOINT INTERNATIONAL PROGRAM</a:t>
          </a:r>
          <a:endParaRPr lang="id-ID" sz="1600" b="0" dirty="0"/>
        </a:p>
      </dgm:t>
    </dgm:pt>
    <dgm:pt modelId="{D8796BA6-5104-44A1-BA19-E72ED673F95C}" type="parTrans" cxnId="{7A1C2B74-F434-415C-8CAD-0EBBAAD41A9B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733AF8EA-2DE7-4DEC-BD84-1A964B48CD4F}" type="sibTrans" cxnId="{7A1C2B74-F434-415C-8CAD-0EBBAAD41A9B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D6A8A578-189A-45A4-8DA6-F0892388975A}">
      <dgm:prSet phldrT="[Text]" custT="1"/>
      <dgm:spPr/>
      <dgm:t>
        <a:bodyPr/>
        <a:lstStyle/>
        <a:p>
          <a:r>
            <a:rPr lang="id-ID" sz="1600" b="0" dirty="0" smtClean="0"/>
            <a:t>STUDENT </a:t>
          </a:r>
        </a:p>
        <a:p>
          <a:r>
            <a:rPr lang="id-ID" sz="1600" b="0" dirty="0" smtClean="0"/>
            <a:t>EXCHANGE</a:t>
          </a:r>
          <a:endParaRPr lang="id-ID" sz="1600" b="0" dirty="0"/>
        </a:p>
      </dgm:t>
    </dgm:pt>
    <dgm:pt modelId="{BBEA2098-CF1D-4E74-9070-FB7CEF23BFE8}" type="parTrans" cxnId="{D22A17C5-C62D-47E2-8399-3F25823174EA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500B8CF7-34BF-4CA5-A61C-1560A3FC76EB}" type="sibTrans" cxnId="{D22A17C5-C62D-47E2-8399-3F25823174EA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3AE61753-32E4-4458-AA1A-FF6BA6B4ABF7}">
      <dgm:prSet phldrT="[Text]" custT="1"/>
      <dgm:spPr/>
      <dgm:t>
        <a:bodyPr/>
        <a:lstStyle/>
        <a:p>
          <a:r>
            <a:rPr lang="id-ID" sz="1600" b="0" dirty="0" smtClean="0"/>
            <a:t>ACADEMIC </a:t>
          </a:r>
        </a:p>
        <a:p>
          <a:r>
            <a:rPr lang="id-ID" sz="1600" b="0" dirty="0" smtClean="0"/>
            <a:t>VISIT</a:t>
          </a:r>
          <a:endParaRPr lang="id-ID" sz="1600" b="0" dirty="0"/>
        </a:p>
      </dgm:t>
    </dgm:pt>
    <dgm:pt modelId="{C71DBBCE-492F-4C87-9010-8C7E8507CC23}" type="parTrans" cxnId="{1AAC7C05-4B45-4BB3-8290-81587ACBB1E4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C39B509D-6B06-4764-A43D-63E0FF856C8E}" type="sibTrans" cxnId="{1AAC7C05-4B45-4BB3-8290-81587ACBB1E4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A23E2DF9-26CD-4B92-A907-10E15EBE379A}">
      <dgm:prSet phldrT="[Text]" custT="1"/>
      <dgm:spPr/>
      <dgm:t>
        <a:bodyPr/>
        <a:lstStyle/>
        <a:p>
          <a:r>
            <a:rPr lang="id-ID" sz="1600" b="0" dirty="0" smtClean="0"/>
            <a:t>SUMMER PROGRAM</a:t>
          </a:r>
          <a:endParaRPr lang="id-ID" sz="1600" b="0" dirty="0"/>
        </a:p>
      </dgm:t>
    </dgm:pt>
    <dgm:pt modelId="{0644BEA6-3F5E-4BEA-B162-C1F420B41CF2}" type="parTrans" cxnId="{FEBF3E96-EBA1-41A3-A9A0-6D3DEC6F2885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DF4D0CD4-2F26-4827-A6C4-B3EE8D8DB09F}" type="sibTrans" cxnId="{FEBF3E96-EBA1-41A3-A9A0-6D3DEC6F2885}">
      <dgm:prSet/>
      <dgm:spPr/>
      <dgm:t>
        <a:bodyPr/>
        <a:lstStyle/>
        <a:p>
          <a:endParaRPr lang="id-ID" sz="1600" b="0">
            <a:solidFill>
              <a:schemeClr val="tx1"/>
            </a:solidFill>
          </a:endParaRPr>
        </a:p>
      </dgm:t>
    </dgm:pt>
    <dgm:pt modelId="{8DCD4BF8-676E-441A-8091-B1F398AC4E72}" type="pres">
      <dgm:prSet presAssocID="{5A7750D9-4288-430B-82C9-5DEF317A578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id-ID"/>
        </a:p>
      </dgm:t>
    </dgm:pt>
    <dgm:pt modelId="{E4D6E7F8-2993-45C5-80A1-62E14C25D5EC}" type="pres">
      <dgm:prSet presAssocID="{A2C438B0-1573-4EC7-B5BB-6AE85F9E344A}" presName="centerShape" presStyleLbl="node0" presStyleIdx="0" presStyleCnt="1"/>
      <dgm:spPr/>
      <dgm:t>
        <a:bodyPr/>
        <a:lstStyle/>
        <a:p>
          <a:endParaRPr lang="id-ID"/>
        </a:p>
      </dgm:t>
    </dgm:pt>
    <dgm:pt modelId="{028732E0-E95A-4B35-9775-3EB2F91B9D9E}" type="pres">
      <dgm:prSet presAssocID="{0273E94A-EAD0-4427-9CF9-83BFB88BCB84}" presName="node" presStyleLbl="node1" presStyleIdx="0" presStyleCnt="4" custScaleX="13708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B55335CD-63E1-4327-9DEF-527F32F70765}" type="pres">
      <dgm:prSet presAssocID="{0273E94A-EAD0-4427-9CF9-83BFB88BCB84}" presName="dummy" presStyleCnt="0"/>
      <dgm:spPr/>
    </dgm:pt>
    <dgm:pt modelId="{E8911546-EFE5-4C16-BA14-6F7F48C9A367}" type="pres">
      <dgm:prSet presAssocID="{733AF8EA-2DE7-4DEC-BD84-1A964B48CD4F}" presName="sibTrans" presStyleLbl="sibTrans2D1" presStyleIdx="0" presStyleCnt="4"/>
      <dgm:spPr/>
      <dgm:t>
        <a:bodyPr/>
        <a:lstStyle/>
        <a:p>
          <a:endParaRPr lang="id-ID"/>
        </a:p>
      </dgm:t>
    </dgm:pt>
    <dgm:pt modelId="{2E62E807-72F2-4ECB-BFA4-569E2A79ED74}" type="pres">
      <dgm:prSet presAssocID="{D6A8A578-189A-45A4-8DA6-F0892388975A}" presName="node" presStyleLbl="node1" presStyleIdx="1" presStyleCnt="4" custScaleX="115202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EB8870CC-9C79-4587-9443-8E16E716513F}" type="pres">
      <dgm:prSet presAssocID="{D6A8A578-189A-45A4-8DA6-F0892388975A}" presName="dummy" presStyleCnt="0"/>
      <dgm:spPr/>
    </dgm:pt>
    <dgm:pt modelId="{E8497B62-18E0-47B7-87FD-A53EC081FBEC}" type="pres">
      <dgm:prSet presAssocID="{500B8CF7-34BF-4CA5-A61C-1560A3FC76EB}" presName="sibTrans" presStyleLbl="sibTrans2D1" presStyleIdx="1" presStyleCnt="4"/>
      <dgm:spPr/>
      <dgm:t>
        <a:bodyPr/>
        <a:lstStyle/>
        <a:p>
          <a:endParaRPr lang="id-ID"/>
        </a:p>
      </dgm:t>
    </dgm:pt>
    <dgm:pt modelId="{FA576EEE-20BA-4615-B5A3-8E886CF8A761}" type="pres">
      <dgm:prSet presAssocID="{3AE61753-32E4-4458-AA1A-FF6BA6B4ABF7}" presName="node" presStyleLbl="node1" presStyleIdx="2" presStyleCnt="4" custScaleX="117490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6017BE7A-C297-4DEB-8F51-492BEEED6584}" type="pres">
      <dgm:prSet presAssocID="{3AE61753-32E4-4458-AA1A-FF6BA6B4ABF7}" presName="dummy" presStyleCnt="0"/>
      <dgm:spPr/>
    </dgm:pt>
    <dgm:pt modelId="{C5471300-2BDB-4615-B51D-424243478250}" type="pres">
      <dgm:prSet presAssocID="{C39B509D-6B06-4764-A43D-63E0FF856C8E}" presName="sibTrans" presStyleLbl="sibTrans2D1" presStyleIdx="2" presStyleCnt="4"/>
      <dgm:spPr/>
      <dgm:t>
        <a:bodyPr/>
        <a:lstStyle/>
        <a:p>
          <a:endParaRPr lang="id-ID"/>
        </a:p>
      </dgm:t>
    </dgm:pt>
    <dgm:pt modelId="{23515A52-D225-456A-AC8B-73C327F06349}" type="pres">
      <dgm:prSet presAssocID="{A23E2DF9-26CD-4B92-A907-10E15EBE379A}" presName="node" presStyleLbl="node1" presStyleIdx="3" presStyleCnt="4" custScaleX="113455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6AA4FFAD-318E-44FE-AE79-92124765DC18}" type="pres">
      <dgm:prSet presAssocID="{A23E2DF9-26CD-4B92-A907-10E15EBE379A}" presName="dummy" presStyleCnt="0"/>
      <dgm:spPr/>
    </dgm:pt>
    <dgm:pt modelId="{77AC999A-F67A-4396-B2FC-BABA12150123}" type="pres">
      <dgm:prSet presAssocID="{DF4D0CD4-2F26-4827-A6C4-B3EE8D8DB09F}" presName="sibTrans" presStyleLbl="sibTrans2D1" presStyleIdx="3" presStyleCnt="4"/>
      <dgm:spPr/>
      <dgm:t>
        <a:bodyPr/>
        <a:lstStyle/>
        <a:p>
          <a:endParaRPr lang="id-ID"/>
        </a:p>
      </dgm:t>
    </dgm:pt>
  </dgm:ptLst>
  <dgm:cxnLst>
    <dgm:cxn modelId="{EDA9B4DE-2BE2-43FD-8249-F99B917B31C3}" type="presOf" srcId="{500B8CF7-34BF-4CA5-A61C-1560A3FC76EB}" destId="{E8497B62-18E0-47B7-87FD-A53EC081FBEC}" srcOrd="0" destOrd="0" presId="urn:microsoft.com/office/officeart/2005/8/layout/radial6"/>
    <dgm:cxn modelId="{1AAC7C05-4B45-4BB3-8290-81587ACBB1E4}" srcId="{A2C438B0-1573-4EC7-B5BB-6AE85F9E344A}" destId="{3AE61753-32E4-4458-AA1A-FF6BA6B4ABF7}" srcOrd="2" destOrd="0" parTransId="{C71DBBCE-492F-4C87-9010-8C7E8507CC23}" sibTransId="{C39B509D-6B06-4764-A43D-63E0FF856C8E}"/>
    <dgm:cxn modelId="{267C6B6F-A055-4EF2-A73B-2B8B164AA53F}" type="presOf" srcId="{DF4D0CD4-2F26-4827-A6C4-B3EE8D8DB09F}" destId="{77AC999A-F67A-4396-B2FC-BABA12150123}" srcOrd="0" destOrd="0" presId="urn:microsoft.com/office/officeart/2005/8/layout/radial6"/>
    <dgm:cxn modelId="{7A1C2B74-F434-415C-8CAD-0EBBAAD41A9B}" srcId="{A2C438B0-1573-4EC7-B5BB-6AE85F9E344A}" destId="{0273E94A-EAD0-4427-9CF9-83BFB88BCB84}" srcOrd="0" destOrd="0" parTransId="{D8796BA6-5104-44A1-BA19-E72ED673F95C}" sibTransId="{733AF8EA-2DE7-4DEC-BD84-1A964B48CD4F}"/>
    <dgm:cxn modelId="{EC006877-2851-412F-8E47-F1105CC97DC1}" type="presOf" srcId="{733AF8EA-2DE7-4DEC-BD84-1A964B48CD4F}" destId="{E8911546-EFE5-4C16-BA14-6F7F48C9A367}" srcOrd="0" destOrd="0" presId="urn:microsoft.com/office/officeart/2005/8/layout/radial6"/>
    <dgm:cxn modelId="{7065167A-B9B6-4A80-BFD3-039FBFC4E027}" type="presOf" srcId="{0273E94A-EAD0-4427-9CF9-83BFB88BCB84}" destId="{028732E0-E95A-4B35-9775-3EB2F91B9D9E}" srcOrd="0" destOrd="0" presId="urn:microsoft.com/office/officeart/2005/8/layout/radial6"/>
    <dgm:cxn modelId="{06EAAA7E-CEB4-474D-AA4F-1860EEDEDFCB}" type="presOf" srcId="{A23E2DF9-26CD-4B92-A907-10E15EBE379A}" destId="{23515A52-D225-456A-AC8B-73C327F06349}" srcOrd="0" destOrd="0" presId="urn:microsoft.com/office/officeart/2005/8/layout/radial6"/>
    <dgm:cxn modelId="{69F39476-D117-437E-BABA-46942B510955}" type="presOf" srcId="{C39B509D-6B06-4764-A43D-63E0FF856C8E}" destId="{C5471300-2BDB-4615-B51D-424243478250}" srcOrd="0" destOrd="0" presId="urn:microsoft.com/office/officeart/2005/8/layout/radial6"/>
    <dgm:cxn modelId="{BCD8179E-2F40-46DE-A0D0-9D66E957906D}" srcId="{5A7750D9-4288-430B-82C9-5DEF317A5786}" destId="{A2C438B0-1573-4EC7-B5BB-6AE85F9E344A}" srcOrd="0" destOrd="0" parTransId="{0570C650-2DB9-414D-A109-4A29228D21FE}" sibTransId="{2660C118-18F2-485E-A2BC-C70622F91840}"/>
    <dgm:cxn modelId="{ED0E53C5-8EAB-4E1A-A259-FCF3215A7400}" type="presOf" srcId="{3AE61753-32E4-4458-AA1A-FF6BA6B4ABF7}" destId="{FA576EEE-20BA-4615-B5A3-8E886CF8A761}" srcOrd="0" destOrd="0" presId="urn:microsoft.com/office/officeart/2005/8/layout/radial6"/>
    <dgm:cxn modelId="{FEBF3E96-EBA1-41A3-A9A0-6D3DEC6F2885}" srcId="{A2C438B0-1573-4EC7-B5BB-6AE85F9E344A}" destId="{A23E2DF9-26CD-4B92-A907-10E15EBE379A}" srcOrd="3" destOrd="0" parTransId="{0644BEA6-3F5E-4BEA-B162-C1F420B41CF2}" sibTransId="{DF4D0CD4-2F26-4827-A6C4-B3EE8D8DB09F}"/>
    <dgm:cxn modelId="{37ED77D7-2C0F-4AAE-A4F4-751F9EFC5D21}" type="presOf" srcId="{A2C438B0-1573-4EC7-B5BB-6AE85F9E344A}" destId="{E4D6E7F8-2993-45C5-80A1-62E14C25D5EC}" srcOrd="0" destOrd="0" presId="urn:microsoft.com/office/officeart/2005/8/layout/radial6"/>
    <dgm:cxn modelId="{99F1477A-BBAF-4620-A9E2-1DE9A8D8E133}" type="presOf" srcId="{D6A8A578-189A-45A4-8DA6-F0892388975A}" destId="{2E62E807-72F2-4ECB-BFA4-569E2A79ED74}" srcOrd="0" destOrd="0" presId="urn:microsoft.com/office/officeart/2005/8/layout/radial6"/>
    <dgm:cxn modelId="{D22A17C5-C62D-47E2-8399-3F25823174EA}" srcId="{A2C438B0-1573-4EC7-B5BB-6AE85F9E344A}" destId="{D6A8A578-189A-45A4-8DA6-F0892388975A}" srcOrd="1" destOrd="0" parTransId="{BBEA2098-CF1D-4E74-9070-FB7CEF23BFE8}" sibTransId="{500B8CF7-34BF-4CA5-A61C-1560A3FC76EB}"/>
    <dgm:cxn modelId="{86C960C9-8026-492B-925D-49E58A3A98E0}" type="presOf" srcId="{5A7750D9-4288-430B-82C9-5DEF317A5786}" destId="{8DCD4BF8-676E-441A-8091-B1F398AC4E72}" srcOrd="0" destOrd="0" presId="urn:microsoft.com/office/officeart/2005/8/layout/radial6"/>
    <dgm:cxn modelId="{6E71DE3D-CDBD-473B-9076-962400A9A68D}" type="presParOf" srcId="{8DCD4BF8-676E-441A-8091-B1F398AC4E72}" destId="{E4D6E7F8-2993-45C5-80A1-62E14C25D5EC}" srcOrd="0" destOrd="0" presId="urn:microsoft.com/office/officeart/2005/8/layout/radial6"/>
    <dgm:cxn modelId="{F2C8565C-F8F3-4318-B59F-ACBDA32C3505}" type="presParOf" srcId="{8DCD4BF8-676E-441A-8091-B1F398AC4E72}" destId="{028732E0-E95A-4B35-9775-3EB2F91B9D9E}" srcOrd="1" destOrd="0" presId="urn:microsoft.com/office/officeart/2005/8/layout/radial6"/>
    <dgm:cxn modelId="{1D633782-EF4D-4207-BD59-CFB823215000}" type="presParOf" srcId="{8DCD4BF8-676E-441A-8091-B1F398AC4E72}" destId="{B55335CD-63E1-4327-9DEF-527F32F70765}" srcOrd="2" destOrd="0" presId="urn:microsoft.com/office/officeart/2005/8/layout/radial6"/>
    <dgm:cxn modelId="{2B024F71-C20D-4DB0-8094-416952DEB6DA}" type="presParOf" srcId="{8DCD4BF8-676E-441A-8091-B1F398AC4E72}" destId="{E8911546-EFE5-4C16-BA14-6F7F48C9A367}" srcOrd="3" destOrd="0" presId="urn:microsoft.com/office/officeart/2005/8/layout/radial6"/>
    <dgm:cxn modelId="{8EA3513F-48BA-4C2C-A318-C6C03F808641}" type="presParOf" srcId="{8DCD4BF8-676E-441A-8091-B1F398AC4E72}" destId="{2E62E807-72F2-4ECB-BFA4-569E2A79ED74}" srcOrd="4" destOrd="0" presId="urn:microsoft.com/office/officeart/2005/8/layout/radial6"/>
    <dgm:cxn modelId="{3FFAC980-B6F4-4A5E-BA1E-D07FEC5856DB}" type="presParOf" srcId="{8DCD4BF8-676E-441A-8091-B1F398AC4E72}" destId="{EB8870CC-9C79-4587-9443-8E16E716513F}" srcOrd="5" destOrd="0" presId="urn:microsoft.com/office/officeart/2005/8/layout/radial6"/>
    <dgm:cxn modelId="{F2A424AC-6449-4226-BCE2-8E2D673D5BBA}" type="presParOf" srcId="{8DCD4BF8-676E-441A-8091-B1F398AC4E72}" destId="{E8497B62-18E0-47B7-87FD-A53EC081FBEC}" srcOrd="6" destOrd="0" presId="urn:microsoft.com/office/officeart/2005/8/layout/radial6"/>
    <dgm:cxn modelId="{FDB89FBB-C328-4EC4-8802-5C62BD7AFD35}" type="presParOf" srcId="{8DCD4BF8-676E-441A-8091-B1F398AC4E72}" destId="{FA576EEE-20BA-4615-B5A3-8E886CF8A761}" srcOrd="7" destOrd="0" presId="urn:microsoft.com/office/officeart/2005/8/layout/radial6"/>
    <dgm:cxn modelId="{89FDB927-8F72-485A-A567-8D0A32B35900}" type="presParOf" srcId="{8DCD4BF8-676E-441A-8091-B1F398AC4E72}" destId="{6017BE7A-C297-4DEB-8F51-492BEEED6584}" srcOrd="8" destOrd="0" presId="urn:microsoft.com/office/officeart/2005/8/layout/radial6"/>
    <dgm:cxn modelId="{B1111A2F-9C03-4682-B712-3A67EF1A460F}" type="presParOf" srcId="{8DCD4BF8-676E-441A-8091-B1F398AC4E72}" destId="{C5471300-2BDB-4615-B51D-424243478250}" srcOrd="9" destOrd="0" presId="urn:microsoft.com/office/officeart/2005/8/layout/radial6"/>
    <dgm:cxn modelId="{86B8630E-E74C-485E-9895-F3E68817CDF3}" type="presParOf" srcId="{8DCD4BF8-676E-441A-8091-B1F398AC4E72}" destId="{23515A52-D225-456A-AC8B-73C327F06349}" srcOrd="10" destOrd="0" presId="urn:microsoft.com/office/officeart/2005/8/layout/radial6"/>
    <dgm:cxn modelId="{2AB8E691-CF42-40FD-94EB-AB1D319C247B}" type="presParOf" srcId="{8DCD4BF8-676E-441A-8091-B1F398AC4E72}" destId="{6AA4FFAD-318E-44FE-AE79-92124765DC18}" srcOrd="11" destOrd="0" presId="urn:microsoft.com/office/officeart/2005/8/layout/radial6"/>
    <dgm:cxn modelId="{F09D1AC7-24BF-4F9E-A5C6-5355AB70B231}" type="presParOf" srcId="{8DCD4BF8-676E-441A-8091-B1F398AC4E72}" destId="{77AC999A-F67A-4396-B2FC-BABA12150123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CAE6940-ABF7-4595-B7D9-CE65BF6920F2}" type="doc">
      <dgm:prSet loTypeId="urn:microsoft.com/office/officeart/2005/8/layout/vList3#1" loCatId="picture" qsTypeId="urn:microsoft.com/office/officeart/2005/8/quickstyle/3d1" qsCatId="3D" csTypeId="urn:microsoft.com/office/officeart/2005/8/colors/accent0_3" csCatId="mainScheme" phldr="1"/>
      <dgm:spPr/>
    </dgm:pt>
    <dgm:pt modelId="{74481098-0239-4B2D-B978-F60F4691E724}">
      <dgm:prSet phldrT="[Text]"/>
      <dgm:spPr/>
      <dgm:t>
        <a:bodyPr/>
        <a:lstStyle/>
        <a:p>
          <a:r>
            <a:rPr lang="id-ID" b="1" smtClean="0"/>
            <a:t>SANDWICH PROGRAM</a:t>
          </a:r>
          <a:endParaRPr lang="id-ID" b="1" dirty="0"/>
        </a:p>
      </dgm:t>
    </dgm:pt>
    <dgm:pt modelId="{C32334BD-1536-4ED9-8F7A-EFB5FB82ED63}" type="parTrans" cxnId="{2AF14EC4-4956-49E6-8397-76AF12243508}">
      <dgm:prSet/>
      <dgm:spPr/>
      <dgm:t>
        <a:bodyPr/>
        <a:lstStyle/>
        <a:p>
          <a:endParaRPr lang="id-ID" b="1">
            <a:solidFill>
              <a:schemeClr val="bg1"/>
            </a:solidFill>
          </a:endParaRPr>
        </a:p>
      </dgm:t>
    </dgm:pt>
    <dgm:pt modelId="{6D9320E9-686C-4515-8EC6-72E9FABC240D}" type="sibTrans" cxnId="{2AF14EC4-4956-49E6-8397-76AF12243508}">
      <dgm:prSet/>
      <dgm:spPr/>
      <dgm:t>
        <a:bodyPr/>
        <a:lstStyle/>
        <a:p>
          <a:endParaRPr lang="id-ID" b="1">
            <a:solidFill>
              <a:schemeClr val="bg1"/>
            </a:solidFill>
          </a:endParaRPr>
        </a:p>
      </dgm:t>
    </dgm:pt>
    <dgm:pt modelId="{E38EF45A-F6E2-4179-BF82-3E40AC0709C0}">
      <dgm:prSet phldrT="[Text]"/>
      <dgm:spPr/>
      <dgm:t>
        <a:bodyPr/>
        <a:lstStyle/>
        <a:p>
          <a:r>
            <a:rPr lang="id-ID" b="1" smtClean="0"/>
            <a:t>EARNING AND TRANSFER CREDIT PROGRAM</a:t>
          </a:r>
          <a:endParaRPr lang="id-ID" b="1" dirty="0"/>
        </a:p>
      </dgm:t>
    </dgm:pt>
    <dgm:pt modelId="{40D9A6B5-02F7-4D51-9BDC-CF761B140DBB}" type="parTrans" cxnId="{F58102D1-F139-4821-8F8E-FE29B3C4B0EC}">
      <dgm:prSet/>
      <dgm:spPr/>
      <dgm:t>
        <a:bodyPr/>
        <a:lstStyle/>
        <a:p>
          <a:endParaRPr lang="id-ID" b="1">
            <a:solidFill>
              <a:schemeClr val="bg1"/>
            </a:solidFill>
          </a:endParaRPr>
        </a:p>
      </dgm:t>
    </dgm:pt>
    <dgm:pt modelId="{F417B896-0D50-4F56-849B-F298F6CD4A75}" type="sibTrans" cxnId="{F58102D1-F139-4821-8F8E-FE29B3C4B0EC}">
      <dgm:prSet/>
      <dgm:spPr/>
      <dgm:t>
        <a:bodyPr/>
        <a:lstStyle/>
        <a:p>
          <a:endParaRPr lang="id-ID" b="1">
            <a:solidFill>
              <a:schemeClr val="bg1"/>
            </a:solidFill>
          </a:endParaRPr>
        </a:p>
      </dgm:t>
    </dgm:pt>
    <dgm:pt modelId="{B509F6DC-29D1-4FF6-8BC5-EEDE7A150FF3}">
      <dgm:prSet phldrT="[Text]"/>
      <dgm:spPr/>
      <dgm:t>
        <a:bodyPr/>
        <a:lstStyle/>
        <a:p>
          <a:r>
            <a:rPr lang="id-ID" b="1" smtClean="0"/>
            <a:t>JOINT DEGREE AND COLLABORATIVE DEGREE</a:t>
          </a:r>
          <a:endParaRPr lang="id-ID" b="1" dirty="0"/>
        </a:p>
      </dgm:t>
    </dgm:pt>
    <dgm:pt modelId="{786A9B64-7CC5-45E6-BD8C-802A8690DAE0}" type="parTrans" cxnId="{3917A97E-520C-4DE2-914E-445C3D8DA588}">
      <dgm:prSet/>
      <dgm:spPr/>
      <dgm:t>
        <a:bodyPr/>
        <a:lstStyle/>
        <a:p>
          <a:endParaRPr lang="id-ID" b="1">
            <a:solidFill>
              <a:schemeClr val="bg1"/>
            </a:solidFill>
          </a:endParaRPr>
        </a:p>
      </dgm:t>
    </dgm:pt>
    <dgm:pt modelId="{DB74CFD5-9817-447F-890D-916395CAB708}" type="sibTrans" cxnId="{3917A97E-520C-4DE2-914E-445C3D8DA588}">
      <dgm:prSet/>
      <dgm:spPr/>
      <dgm:t>
        <a:bodyPr/>
        <a:lstStyle/>
        <a:p>
          <a:endParaRPr lang="id-ID" b="1">
            <a:solidFill>
              <a:schemeClr val="bg1"/>
            </a:solidFill>
          </a:endParaRPr>
        </a:p>
      </dgm:t>
    </dgm:pt>
    <dgm:pt modelId="{955D36B3-D543-4F37-8080-1AE259E1F418}">
      <dgm:prSet phldrT="[Text]"/>
      <dgm:spPr/>
      <dgm:t>
        <a:bodyPr/>
        <a:lstStyle/>
        <a:p>
          <a:r>
            <a:rPr lang="id-ID" b="1" smtClean="0"/>
            <a:t>JOINT RESEARCH AND TEACHING</a:t>
          </a:r>
          <a:endParaRPr lang="id-ID" b="1" dirty="0"/>
        </a:p>
      </dgm:t>
    </dgm:pt>
    <dgm:pt modelId="{E24B7EED-A856-4BA9-8E66-57136477B87B}" type="parTrans" cxnId="{AC9A1F6D-196C-4F79-8897-5B6465209BF8}">
      <dgm:prSet/>
      <dgm:spPr/>
      <dgm:t>
        <a:bodyPr/>
        <a:lstStyle/>
        <a:p>
          <a:endParaRPr lang="id-ID" b="1">
            <a:solidFill>
              <a:schemeClr val="bg1"/>
            </a:solidFill>
          </a:endParaRPr>
        </a:p>
      </dgm:t>
    </dgm:pt>
    <dgm:pt modelId="{097B25ED-84CB-4494-A20F-AD0384DA9AC2}" type="sibTrans" cxnId="{AC9A1F6D-196C-4F79-8897-5B6465209BF8}">
      <dgm:prSet/>
      <dgm:spPr/>
      <dgm:t>
        <a:bodyPr/>
        <a:lstStyle/>
        <a:p>
          <a:endParaRPr lang="id-ID" b="1">
            <a:solidFill>
              <a:schemeClr val="bg1"/>
            </a:solidFill>
          </a:endParaRPr>
        </a:p>
      </dgm:t>
    </dgm:pt>
    <dgm:pt modelId="{CDCF1FB6-820B-4852-99EA-5D87A600BA86}">
      <dgm:prSet phldrT="[Text]"/>
      <dgm:spPr/>
      <dgm:t>
        <a:bodyPr/>
        <a:lstStyle/>
        <a:p>
          <a:r>
            <a:rPr lang="id-ID" b="1" smtClean="0"/>
            <a:t>GUEST TEACHER AND LECTURER, PROFESSOR PROGRAM</a:t>
          </a:r>
          <a:endParaRPr lang="id-ID" b="1" dirty="0"/>
        </a:p>
      </dgm:t>
    </dgm:pt>
    <dgm:pt modelId="{DDA71713-3B67-4936-AF70-07224350697C}" type="parTrans" cxnId="{16077B67-0529-4A0F-8010-3BA804FD2D94}">
      <dgm:prSet/>
      <dgm:spPr/>
      <dgm:t>
        <a:bodyPr/>
        <a:lstStyle/>
        <a:p>
          <a:endParaRPr lang="id-ID"/>
        </a:p>
      </dgm:t>
    </dgm:pt>
    <dgm:pt modelId="{C193893C-0A40-48A2-B5DC-512971B3CD9E}" type="sibTrans" cxnId="{16077B67-0529-4A0F-8010-3BA804FD2D94}">
      <dgm:prSet/>
      <dgm:spPr/>
      <dgm:t>
        <a:bodyPr/>
        <a:lstStyle/>
        <a:p>
          <a:endParaRPr lang="id-ID"/>
        </a:p>
      </dgm:t>
    </dgm:pt>
    <dgm:pt modelId="{BD3545F1-2A23-4E86-A7AC-BC5F75657123}">
      <dgm:prSet phldrT="[Text]"/>
      <dgm:spPr/>
      <dgm:t>
        <a:bodyPr/>
        <a:lstStyle/>
        <a:p>
          <a:r>
            <a:rPr lang="id-ID" b="1" smtClean="0"/>
            <a:t>GLOBAL STUDENTS  OUTRECH</a:t>
          </a:r>
          <a:endParaRPr lang="id-ID" b="1" dirty="0"/>
        </a:p>
      </dgm:t>
    </dgm:pt>
    <dgm:pt modelId="{96C5FF9B-45AF-4BED-BDE4-5349E271EEFE}" type="parTrans" cxnId="{E712AA17-E51C-4AA6-9CEA-5B2F8D13A82F}">
      <dgm:prSet/>
      <dgm:spPr/>
      <dgm:t>
        <a:bodyPr/>
        <a:lstStyle/>
        <a:p>
          <a:endParaRPr lang="id-ID"/>
        </a:p>
      </dgm:t>
    </dgm:pt>
    <dgm:pt modelId="{82876394-093C-41E5-BEBC-811F1E2AF73B}" type="sibTrans" cxnId="{E712AA17-E51C-4AA6-9CEA-5B2F8D13A82F}">
      <dgm:prSet/>
      <dgm:spPr/>
      <dgm:t>
        <a:bodyPr/>
        <a:lstStyle/>
        <a:p>
          <a:endParaRPr lang="id-ID"/>
        </a:p>
      </dgm:t>
    </dgm:pt>
    <dgm:pt modelId="{01D11A8E-D8D9-42B6-9E35-B3D47905333F}" type="pres">
      <dgm:prSet presAssocID="{6CAE6940-ABF7-4595-B7D9-CE65BF6920F2}" presName="linearFlow" presStyleCnt="0">
        <dgm:presLayoutVars>
          <dgm:dir/>
          <dgm:resizeHandles val="exact"/>
        </dgm:presLayoutVars>
      </dgm:prSet>
      <dgm:spPr/>
    </dgm:pt>
    <dgm:pt modelId="{F9CB5309-2AEF-40A5-9584-B718CA38B609}" type="pres">
      <dgm:prSet presAssocID="{74481098-0239-4B2D-B978-F60F4691E724}" presName="composite" presStyleCnt="0"/>
      <dgm:spPr/>
    </dgm:pt>
    <dgm:pt modelId="{E60071E4-28D9-4608-B333-BFD0CD172918}" type="pres">
      <dgm:prSet presAssocID="{74481098-0239-4B2D-B978-F60F4691E724}" presName="imgShp" presStyleLbl="fgImgPlace1" presStyleIdx="0" presStyleCnt="6"/>
      <dgm:spPr/>
    </dgm:pt>
    <dgm:pt modelId="{3F9AF875-405A-468F-8377-575FDA9752F2}" type="pres">
      <dgm:prSet presAssocID="{74481098-0239-4B2D-B978-F60F4691E724}" presName="txShp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93E3D16F-E13C-456A-8F45-61A949EE0865}" type="pres">
      <dgm:prSet presAssocID="{6D9320E9-686C-4515-8EC6-72E9FABC240D}" presName="spacing" presStyleCnt="0"/>
      <dgm:spPr/>
    </dgm:pt>
    <dgm:pt modelId="{46C6A84B-98F2-4DEC-ABF3-21E43A9F2232}" type="pres">
      <dgm:prSet presAssocID="{E38EF45A-F6E2-4179-BF82-3E40AC0709C0}" presName="composite" presStyleCnt="0"/>
      <dgm:spPr/>
    </dgm:pt>
    <dgm:pt modelId="{BCD44CED-9489-4DB1-9A6A-C50AF7941FB6}" type="pres">
      <dgm:prSet presAssocID="{E38EF45A-F6E2-4179-BF82-3E40AC0709C0}" presName="imgShp" presStyleLbl="fgImgPlace1" presStyleIdx="1" presStyleCnt="6"/>
      <dgm:spPr/>
    </dgm:pt>
    <dgm:pt modelId="{0A159D4D-7D8A-4CAA-9157-12BC94ECF514}" type="pres">
      <dgm:prSet presAssocID="{E38EF45A-F6E2-4179-BF82-3E40AC0709C0}" presName="txShp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93F986F1-97CC-4CCF-88BD-46C2D21C98DD}" type="pres">
      <dgm:prSet presAssocID="{F417B896-0D50-4F56-849B-F298F6CD4A75}" presName="spacing" presStyleCnt="0"/>
      <dgm:spPr/>
    </dgm:pt>
    <dgm:pt modelId="{72ED47AC-F466-4247-A1CC-475979E3F275}" type="pres">
      <dgm:prSet presAssocID="{B509F6DC-29D1-4FF6-8BC5-EEDE7A150FF3}" presName="composite" presStyleCnt="0"/>
      <dgm:spPr/>
    </dgm:pt>
    <dgm:pt modelId="{4031EF21-9293-44E5-85CA-6E13E935B7A1}" type="pres">
      <dgm:prSet presAssocID="{B509F6DC-29D1-4FF6-8BC5-EEDE7A150FF3}" presName="imgShp" presStyleLbl="fgImgPlace1" presStyleIdx="2" presStyleCnt="6"/>
      <dgm:spPr/>
    </dgm:pt>
    <dgm:pt modelId="{5846812E-8C44-4E8B-BA10-4E3BD21ABAF7}" type="pres">
      <dgm:prSet presAssocID="{B509F6DC-29D1-4FF6-8BC5-EEDE7A150FF3}" presName="txShp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A1BA4801-A309-49D1-98C7-FF6148180F5D}" type="pres">
      <dgm:prSet presAssocID="{DB74CFD5-9817-447F-890D-916395CAB708}" presName="spacing" presStyleCnt="0"/>
      <dgm:spPr/>
    </dgm:pt>
    <dgm:pt modelId="{75BCD14E-3016-47C7-A421-46E21D831A55}" type="pres">
      <dgm:prSet presAssocID="{955D36B3-D543-4F37-8080-1AE259E1F418}" presName="composite" presStyleCnt="0"/>
      <dgm:spPr/>
    </dgm:pt>
    <dgm:pt modelId="{451A53F3-07C0-4FF8-AA5B-DEA7E97494AD}" type="pres">
      <dgm:prSet presAssocID="{955D36B3-D543-4F37-8080-1AE259E1F418}" presName="imgShp" presStyleLbl="fgImgPlace1" presStyleIdx="3" presStyleCnt="6"/>
      <dgm:spPr/>
    </dgm:pt>
    <dgm:pt modelId="{79C412E4-A656-473C-8D54-160D5E4F8663}" type="pres">
      <dgm:prSet presAssocID="{955D36B3-D543-4F37-8080-1AE259E1F418}" presName="txShp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BC9D1550-5A27-4BFB-B5F9-534391CF7CE4}" type="pres">
      <dgm:prSet presAssocID="{097B25ED-84CB-4494-A20F-AD0384DA9AC2}" presName="spacing" presStyleCnt="0"/>
      <dgm:spPr/>
    </dgm:pt>
    <dgm:pt modelId="{00D7A1DF-5556-42A9-B9D8-C01D9E2BBB7A}" type="pres">
      <dgm:prSet presAssocID="{CDCF1FB6-820B-4852-99EA-5D87A600BA86}" presName="composite" presStyleCnt="0"/>
      <dgm:spPr/>
    </dgm:pt>
    <dgm:pt modelId="{491130BC-1264-4A6A-80C1-361B94E5FFEA}" type="pres">
      <dgm:prSet presAssocID="{CDCF1FB6-820B-4852-99EA-5D87A600BA86}" presName="imgShp" presStyleLbl="fgImgPlace1" presStyleIdx="4" presStyleCnt="6"/>
      <dgm:spPr/>
    </dgm:pt>
    <dgm:pt modelId="{539AEF72-0CA8-4FFA-B708-4A1B20C2DF65}" type="pres">
      <dgm:prSet presAssocID="{CDCF1FB6-820B-4852-99EA-5D87A600BA86}" presName="txShp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F543D32C-6469-4B23-9868-FF0694017C37}" type="pres">
      <dgm:prSet presAssocID="{C193893C-0A40-48A2-B5DC-512971B3CD9E}" presName="spacing" presStyleCnt="0"/>
      <dgm:spPr/>
    </dgm:pt>
    <dgm:pt modelId="{710095B8-8CDE-49BB-9A03-0BAF7D2BB46E}" type="pres">
      <dgm:prSet presAssocID="{BD3545F1-2A23-4E86-A7AC-BC5F75657123}" presName="composite" presStyleCnt="0"/>
      <dgm:spPr/>
    </dgm:pt>
    <dgm:pt modelId="{D13EDC59-F7D5-4575-9224-9A1426C7AAAC}" type="pres">
      <dgm:prSet presAssocID="{BD3545F1-2A23-4E86-A7AC-BC5F75657123}" presName="imgShp" presStyleLbl="fgImgPlace1" presStyleIdx="5" presStyleCnt="6"/>
      <dgm:spPr/>
    </dgm:pt>
    <dgm:pt modelId="{1A96D433-7F15-402F-9CA6-BA1177631D98}" type="pres">
      <dgm:prSet presAssocID="{BD3545F1-2A23-4E86-A7AC-BC5F75657123}" presName="txShp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</dgm:ptLst>
  <dgm:cxnLst>
    <dgm:cxn modelId="{2AF14EC4-4956-49E6-8397-76AF12243508}" srcId="{6CAE6940-ABF7-4595-B7D9-CE65BF6920F2}" destId="{74481098-0239-4B2D-B978-F60F4691E724}" srcOrd="0" destOrd="0" parTransId="{C32334BD-1536-4ED9-8F7A-EFB5FB82ED63}" sibTransId="{6D9320E9-686C-4515-8EC6-72E9FABC240D}"/>
    <dgm:cxn modelId="{E712AA17-E51C-4AA6-9CEA-5B2F8D13A82F}" srcId="{6CAE6940-ABF7-4595-B7D9-CE65BF6920F2}" destId="{BD3545F1-2A23-4E86-A7AC-BC5F75657123}" srcOrd="5" destOrd="0" parTransId="{96C5FF9B-45AF-4BED-BDE4-5349E271EEFE}" sibTransId="{82876394-093C-41E5-BEBC-811F1E2AF73B}"/>
    <dgm:cxn modelId="{A489016F-FE86-492F-8AAC-5ABB543DCFDA}" type="presOf" srcId="{E38EF45A-F6E2-4179-BF82-3E40AC0709C0}" destId="{0A159D4D-7D8A-4CAA-9157-12BC94ECF514}" srcOrd="0" destOrd="0" presId="urn:microsoft.com/office/officeart/2005/8/layout/vList3#1"/>
    <dgm:cxn modelId="{16077B67-0529-4A0F-8010-3BA804FD2D94}" srcId="{6CAE6940-ABF7-4595-B7D9-CE65BF6920F2}" destId="{CDCF1FB6-820B-4852-99EA-5D87A600BA86}" srcOrd="4" destOrd="0" parTransId="{DDA71713-3B67-4936-AF70-07224350697C}" sibTransId="{C193893C-0A40-48A2-B5DC-512971B3CD9E}"/>
    <dgm:cxn modelId="{6812230A-F857-4A1B-B686-3394EF90E349}" type="presOf" srcId="{CDCF1FB6-820B-4852-99EA-5D87A600BA86}" destId="{539AEF72-0CA8-4FFA-B708-4A1B20C2DF65}" srcOrd="0" destOrd="0" presId="urn:microsoft.com/office/officeart/2005/8/layout/vList3#1"/>
    <dgm:cxn modelId="{DB3E89DB-495E-42E9-9220-32A542B77B5D}" type="presOf" srcId="{6CAE6940-ABF7-4595-B7D9-CE65BF6920F2}" destId="{01D11A8E-D8D9-42B6-9E35-B3D47905333F}" srcOrd="0" destOrd="0" presId="urn:microsoft.com/office/officeart/2005/8/layout/vList3#1"/>
    <dgm:cxn modelId="{AB9F70BE-C003-4436-BDC4-7AE6714CEB87}" type="presOf" srcId="{B509F6DC-29D1-4FF6-8BC5-EEDE7A150FF3}" destId="{5846812E-8C44-4E8B-BA10-4E3BD21ABAF7}" srcOrd="0" destOrd="0" presId="urn:microsoft.com/office/officeart/2005/8/layout/vList3#1"/>
    <dgm:cxn modelId="{8CE44D01-2933-42F8-92FB-EBAF1F334BA8}" type="presOf" srcId="{BD3545F1-2A23-4E86-A7AC-BC5F75657123}" destId="{1A96D433-7F15-402F-9CA6-BA1177631D98}" srcOrd="0" destOrd="0" presId="urn:microsoft.com/office/officeart/2005/8/layout/vList3#1"/>
    <dgm:cxn modelId="{78F236B1-3722-44A4-B561-D896026D9AE6}" type="presOf" srcId="{955D36B3-D543-4F37-8080-1AE259E1F418}" destId="{79C412E4-A656-473C-8D54-160D5E4F8663}" srcOrd="0" destOrd="0" presId="urn:microsoft.com/office/officeart/2005/8/layout/vList3#1"/>
    <dgm:cxn modelId="{3917A97E-520C-4DE2-914E-445C3D8DA588}" srcId="{6CAE6940-ABF7-4595-B7D9-CE65BF6920F2}" destId="{B509F6DC-29D1-4FF6-8BC5-EEDE7A150FF3}" srcOrd="2" destOrd="0" parTransId="{786A9B64-7CC5-45E6-BD8C-802A8690DAE0}" sibTransId="{DB74CFD5-9817-447F-890D-916395CAB708}"/>
    <dgm:cxn modelId="{C20BBAF2-858E-4A39-ACBF-6B467FD88288}" type="presOf" srcId="{74481098-0239-4B2D-B978-F60F4691E724}" destId="{3F9AF875-405A-468F-8377-575FDA9752F2}" srcOrd="0" destOrd="0" presId="urn:microsoft.com/office/officeart/2005/8/layout/vList3#1"/>
    <dgm:cxn modelId="{F58102D1-F139-4821-8F8E-FE29B3C4B0EC}" srcId="{6CAE6940-ABF7-4595-B7D9-CE65BF6920F2}" destId="{E38EF45A-F6E2-4179-BF82-3E40AC0709C0}" srcOrd="1" destOrd="0" parTransId="{40D9A6B5-02F7-4D51-9BDC-CF761B140DBB}" sibTransId="{F417B896-0D50-4F56-849B-F298F6CD4A75}"/>
    <dgm:cxn modelId="{AC9A1F6D-196C-4F79-8897-5B6465209BF8}" srcId="{6CAE6940-ABF7-4595-B7D9-CE65BF6920F2}" destId="{955D36B3-D543-4F37-8080-1AE259E1F418}" srcOrd="3" destOrd="0" parTransId="{E24B7EED-A856-4BA9-8E66-57136477B87B}" sibTransId="{097B25ED-84CB-4494-A20F-AD0384DA9AC2}"/>
    <dgm:cxn modelId="{45A95F4E-D782-4F61-87E9-EB69DBDD42BC}" type="presParOf" srcId="{01D11A8E-D8D9-42B6-9E35-B3D47905333F}" destId="{F9CB5309-2AEF-40A5-9584-B718CA38B609}" srcOrd="0" destOrd="0" presId="urn:microsoft.com/office/officeart/2005/8/layout/vList3#1"/>
    <dgm:cxn modelId="{B3A0FBA2-C469-4ABE-88DB-0E792430AA59}" type="presParOf" srcId="{F9CB5309-2AEF-40A5-9584-B718CA38B609}" destId="{E60071E4-28D9-4608-B333-BFD0CD172918}" srcOrd="0" destOrd="0" presId="urn:microsoft.com/office/officeart/2005/8/layout/vList3#1"/>
    <dgm:cxn modelId="{B3D2C6E3-5529-45D7-8ECB-1EBA65F0E893}" type="presParOf" srcId="{F9CB5309-2AEF-40A5-9584-B718CA38B609}" destId="{3F9AF875-405A-468F-8377-575FDA9752F2}" srcOrd="1" destOrd="0" presId="urn:microsoft.com/office/officeart/2005/8/layout/vList3#1"/>
    <dgm:cxn modelId="{96EB94F2-76B0-405C-9BDD-971ECCF6E516}" type="presParOf" srcId="{01D11A8E-D8D9-42B6-9E35-B3D47905333F}" destId="{93E3D16F-E13C-456A-8F45-61A949EE0865}" srcOrd="1" destOrd="0" presId="urn:microsoft.com/office/officeart/2005/8/layout/vList3#1"/>
    <dgm:cxn modelId="{05801EA7-71D5-4A44-8CE5-8591ACBCB2BC}" type="presParOf" srcId="{01D11A8E-D8D9-42B6-9E35-B3D47905333F}" destId="{46C6A84B-98F2-4DEC-ABF3-21E43A9F2232}" srcOrd="2" destOrd="0" presId="urn:microsoft.com/office/officeart/2005/8/layout/vList3#1"/>
    <dgm:cxn modelId="{BC5ABC94-16DA-4DBA-8052-C9871CD98F9A}" type="presParOf" srcId="{46C6A84B-98F2-4DEC-ABF3-21E43A9F2232}" destId="{BCD44CED-9489-4DB1-9A6A-C50AF7941FB6}" srcOrd="0" destOrd="0" presId="urn:microsoft.com/office/officeart/2005/8/layout/vList3#1"/>
    <dgm:cxn modelId="{139A06BD-C827-4172-96C6-956327766E1C}" type="presParOf" srcId="{46C6A84B-98F2-4DEC-ABF3-21E43A9F2232}" destId="{0A159D4D-7D8A-4CAA-9157-12BC94ECF514}" srcOrd="1" destOrd="0" presId="urn:microsoft.com/office/officeart/2005/8/layout/vList3#1"/>
    <dgm:cxn modelId="{CEF53737-0DDB-463F-A922-629E053EB8D9}" type="presParOf" srcId="{01D11A8E-D8D9-42B6-9E35-B3D47905333F}" destId="{93F986F1-97CC-4CCF-88BD-46C2D21C98DD}" srcOrd="3" destOrd="0" presId="urn:microsoft.com/office/officeart/2005/8/layout/vList3#1"/>
    <dgm:cxn modelId="{698C1AF6-B441-4543-93D0-BBD0463996EE}" type="presParOf" srcId="{01D11A8E-D8D9-42B6-9E35-B3D47905333F}" destId="{72ED47AC-F466-4247-A1CC-475979E3F275}" srcOrd="4" destOrd="0" presId="urn:microsoft.com/office/officeart/2005/8/layout/vList3#1"/>
    <dgm:cxn modelId="{20CB5B65-0FB8-46EC-B28C-A4A159736519}" type="presParOf" srcId="{72ED47AC-F466-4247-A1CC-475979E3F275}" destId="{4031EF21-9293-44E5-85CA-6E13E935B7A1}" srcOrd="0" destOrd="0" presId="urn:microsoft.com/office/officeart/2005/8/layout/vList3#1"/>
    <dgm:cxn modelId="{EE617F81-5569-4551-A58C-0E2984387BE5}" type="presParOf" srcId="{72ED47AC-F466-4247-A1CC-475979E3F275}" destId="{5846812E-8C44-4E8B-BA10-4E3BD21ABAF7}" srcOrd="1" destOrd="0" presId="urn:microsoft.com/office/officeart/2005/8/layout/vList3#1"/>
    <dgm:cxn modelId="{CD3BCBF1-F37C-4F86-9F6B-C7E976E8895C}" type="presParOf" srcId="{01D11A8E-D8D9-42B6-9E35-B3D47905333F}" destId="{A1BA4801-A309-49D1-98C7-FF6148180F5D}" srcOrd="5" destOrd="0" presId="urn:microsoft.com/office/officeart/2005/8/layout/vList3#1"/>
    <dgm:cxn modelId="{26925393-D1B7-4D4D-9179-030612E7AE46}" type="presParOf" srcId="{01D11A8E-D8D9-42B6-9E35-B3D47905333F}" destId="{75BCD14E-3016-47C7-A421-46E21D831A55}" srcOrd="6" destOrd="0" presId="urn:microsoft.com/office/officeart/2005/8/layout/vList3#1"/>
    <dgm:cxn modelId="{E6880E84-F21C-44D8-96BD-6075069F5947}" type="presParOf" srcId="{75BCD14E-3016-47C7-A421-46E21D831A55}" destId="{451A53F3-07C0-4FF8-AA5B-DEA7E97494AD}" srcOrd="0" destOrd="0" presId="urn:microsoft.com/office/officeart/2005/8/layout/vList3#1"/>
    <dgm:cxn modelId="{1128E4A7-73C9-423F-A78F-9AF431EC7092}" type="presParOf" srcId="{75BCD14E-3016-47C7-A421-46E21D831A55}" destId="{79C412E4-A656-473C-8D54-160D5E4F8663}" srcOrd="1" destOrd="0" presId="urn:microsoft.com/office/officeart/2005/8/layout/vList3#1"/>
    <dgm:cxn modelId="{BA93F019-C664-4F1E-8722-519F4394FD6D}" type="presParOf" srcId="{01D11A8E-D8D9-42B6-9E35-B3D47905333F}" destId="{BC9D1550-5A27-4BFB-B5F9-534391CF7CE4}" srcOrd="7" destOrd="0" presId="urn:microsoft.com/office/officeart/2005/8/layout/vList3#1"/>
    <dgm:cxn modelId="{1CFFD908-D010-47F2-9786-4C22198F3260}" type="presParOf" srcId="{01D11A8E-D8D9-42B6-9E35-B3D47905333F}" destId="{00D7A1DF-5556-42A9-B9D8-C01D9E2BBB7A}" srcOrd="8" destOrd="0" presId="urn:microsoft.com/office/officeart/2005/8/layout/vList3#1"/>
    <dgm:cxn modelId="{F2C5EDD6-0771-4548-9BAA-645949228072}" type="presParOf" srcId="{00D7A1DF-5556-42A9-B9D8-C01D9E2BBB7A}" destId="{491130BC-1264-4A6A-80C1-361B94E5FFEA}" srcOrd="0" destOrd="0" presId="urn:microsoft.com/office/officeart/2005/8/layout/vList3#1"/>
    <dgm:cxn modelId="{F4F89041-6DA6-4132-A85E-C566AD08C8EF}" type="presParOf" srcId="{00D7A1DF-5556-42A9-B9D8-C01D9E2BBB7A}" destId="{539AEF72-0CA8-4FFA-B708-4A1B20C2DF65}" srcOrd="1" destOrd="0" presId="urn:microsoft.com/office/officeart/2005/8/layout/vList3#1"/>
    <dgm:cxn modelId="{051D3F07-D56F-4AC1-8874-22F1559ADEEB}" type="presParOf" srcId="{01D11A8E-D8D9-42B6-9E35-B3D47905333F}" destId="{F543D32C-6469-4B23-9868-FF0694017C37}" srcOrd="9" destOrd="0" presId="urn:microsoft.com/office/officeart/2005/8/layout/vList3#1"/>
    <dgm:cxn modelId="{F220F33D-EADB-4BF8-9EAA-36AFEC7AA5EB}" type="presParOf" srcId="{01D11A8E-D8D9-42B6-9E35-B3D47905333F}" destId="{710095B8-8CDE-49BB-9A03-0BAF7D2BB46E}" srcOrd="10" destOrd="0" presId="urn:microsoft.com/office/officeart/2005/8/layout/vList3#1"/>
    <dgm:cxn modelId="{A9D15E6E-3B5F-4E72-A99B-7AA037AEFAC3}" type="presParOf" srcId="{710095B8-8CDE-49BB-9A03-0BAF7D2BB46E}" destId="{D13EDC59-F7D5-4575-9224-9A1426C7AAAC}" srcOrd="0" destOrd="0" presId="urn:microsoft.com/office/officeart/2005/8/layout/vList3#1"/>
    <dgm:cxn modelId="{415935A0-02ED-4731-8C93-0C33C9007410}" type="presParOf" srcId="{710095B8-8CDE-49BB-9A03-0BAF7D2BB46E}" destId="{1A96D433-7F15-402F-9CA6-BA1177631D98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AC999A-F67A-4396-B2FC-BABA12150123}">
      <dsp:nvSpPr>
        <dsp:cNvPr id="0" name=""/>
        <dsp:cNvSpPr/>
      </dsp:nvSpPr>
      <dsp:spPr>
        <a:xfrm>
          <a:off x="601470" y="750007"/>
          <a:ext cx="4044600" cy="4044600"/>
        </a:xfrm>
        <a:prstGeom prst="blockArc">
          <a:avLst>
            <a:gd name="adj1" fmla="val 10800000"/>
            <a:gd name="adj2" fmla="val 16200000"/>
            <a:gd name="adj3" fmla="val 4640"/>
          </a:avLst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shade val="51000"/>
                <a:satMod val="130000"/>
              </a:schemeClr>
            </a:gs>
            <a:gs pos="80000">
              <a:schemeClr val="accent5">
                <a:hueOff val="-9933876"/>
                <a:satOff val="39811"/>
                <a:lumOff val="8628"/>
                <a:alphaOff val="0"/>
                <a:shade val="93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5471300-2BDB-4615-B51D-424243478250}">
      <dsp:nvSpPr>
        <dsp:cNvPr id="0" name=""/>
        <dsp:cNvSpPr/>
      </dsp:nvSpPr>
      <dsp:spPr>
        <a:xfrm>
          <a:off x="601470" y="750007"/>
          <a:ext cx="4044600" cy="4044600"/>
        </a:xfrm>
        <a:prstGeom prst="blockArc">
          <a:avLst>
            <a:gd name="adj1" fmla="val 5400000"/>
            <a:gd name="adj2" fmla="val 10800000"/>
            <a:gd name="adj3" fmla="val 4640"/>
          </a:avLst>
        </a:prstGeom>
        <a:gradFill rotWithShape="0">
          <a:gsLst>
            <a:gs pos="0">
              <a:schemeClr val="accent5">
                <a:hueOff val="-6622584"/>
                <a:satOff val="26541"/>
                <a:lumOff val="5752"/>
                <a:alphaOff val="0"/>
                <a:shade val="51000"/>
                <a:satMod val="130000"/>
              </a:schemeClr>
            </a:gs>
            <a:gs pos="80000">
              <a:schemeClr val="accent5">
                <a:hueOff val="-6622584"/>
                <a:satOff val="26541"/>
                <a:lumOff val="5752"/>
                <a:alphaOff val="0"/>
                <a:shade val="93000"/>
                <a:satMod val="130000"/>
              </a:schemeClr>
            </a:gs>
            <a:gs pos="100000">
              <a:schemeClr val="accent5">
                <a:hueOff val="-6622584"/>
                <a:satOff val="26541"/>
                <a:lumOff val="575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8497B62-18E0-47B7-87FD-A53EC081FBEC}">
      <dsp:nvSpPr>
        <dsp:cNvPr id="0" name=""/>
        <dsp:cNvSpPr/>
      </dsp:nvSpPr>
      <dsp:spPr>
        <a:xfrm>
          <a:off x="601470" y="750007"/>
          <a:ext cx="4044600" cy="4044600"/>
        </a:xfrm>
        <a:prstGeom prst="blockArc">
          <a:avLst>
            <a:gd name="adj1" fmla="val 0"/>
            <a:gd name="adj2" fmla="val 5400000"/>
            <a:gd name="adj3" fmla="val 4640"/>
          </a:avLst>
        </a:prstGeom>
        <a:gradFill rotWithShape="0">
          <a:gsLst>
            <a:gs pos="0">
              <a:schemeClr val="accent5">
                <a:hueOff val="-3311292"/>
                <a:satOff val="13270"/>
                <a:lumOff val="2876"/>
                <a:alphaOff val="0"/>
                <a:shade val="51000"/>
                <a:satMod val="130000"/>
              </a:schemeClr>
            </a:gs>
            <a:gs pos="80000">
              <a:schemeClr val="accent5">
                <a:hueOff val="-3311292"/>
                <a:satOff val="13270"/>
                <a:lumOff val="2876"/>
                <a:alphaOff val="0"/>
                <a:shade val="93000"/>
                <a:satMod val="130000"/>
              </a:schemeClr>
            </a:gs>
            <a:gs pos="100000">
              <a:schemeClr val="accent5">
                <a:hueOff val="-3311292"/>
                <a:satOff val="13270"/>
                <a:lumOff val="287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8911546-EFE5-4C16-BA14-6F7F48C9A367}">
      <dsp:nvSpPr>
        <dsp:cNvPr id="0" name=""/>
        <dsp:cNvSpPr/>
      </dsp:nvSpPr>
      <dsp:spPr>
        <a:xfrm>
          <a:off x="601470" y="750007"/>
          <a:ext cx="4044600" cy="4044600"/>
        </a:xfrm>
        <a:prstGeom prst="blockArc">
          <a:avLst>
            <a:gd name="adj1" fmla="val 16200000"/>
            <a:gd name="adj2" fmla="val 0"/>
            <a:gd name="adj3" fmla="val 464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4D6E7F8-2993-45C5-80A1-62E14C25D5EC}">
      <dsp:nvSpPr>
        <dsp:cNvPr id="0" name=""/>
        <dsp:cNvSpPr/>
      </dsp:nvSpPr>
      <dsp:spPr>
        <a:xfrm>
          <a:off x="1692930" y="1841468"/>
          <a:ext cx="1861679" cy="1861679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b="0" kern="1200" dirty="0" smtClean="0"/>
            <a:t>MOBILITY PROGRAM</a:t>
          </a:r>
          <a:endParaRPr lang="id-ID" sz="1600" b="0" kern="1200" dirty="0"/>
        </a:p>
      </dsp:txBody>
      <dsp:txXfrm>
        <a:off x="1965567" y="2114105"/>
        <a:ext cx="1316405" cy="1316405"/>
      </dsp:txXfrm>
    </dsp:sp>
    <dsp:sp modelId="{028732E0-E95A-4B35-9775-3EB2F91B9D9E}">
      <dsp:nvSpPr>
        <dsp:cNvPr id="0" name=""/>
        <dsp:cNvSpPr/>
      </dsp:nvSpPr>
      <dsp:spPr>
        <a:xfrm>
          <a:off x="1730534" y="145334"/>
          <a:ext cx="1786471" cy="1303175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b="0" kern="1200" dirty="0" smtClean="0"/>
            <a:t>JOINT INTERNATIONAL PROGRAM</a:t>
          </a:r>
          <a:endParaRPr lang="id-ID" sz="1600" b="0" kern="1200" dirty="0"/>
        </a:p>
      </dsp:txBody>
      <dsp:txXfrm>
        <a:off x="1992157" y="336180"/>
        <a:ext cx="1263225" cy="921483"/>
      </dsp:txXfrm>
    </dsp:sp>
    <dsp:sp modelId="{2E62E807-72F2-4ECB-BFA4-569E2A79ED74}">
      <dsp:nvSpPr>
        <dsp:cNvPr id="0" name=""/>
        <dsp:cNvSpPr/>
      </dsp:nvSpPr>
      <dsp:spPr>
        <a:xfrm>
          <a:off x="3848513" y="2120720"/>
          <a:ext cx="1501284" cy="1303175"/>
        </a:xfrm>
        <a:prstGeom prst="ellipse">
          <a:avLst/>
        </a:prstGeom>
        <a:gradFill rotWithShape="0">
          <a:gsLst>
            <a:gs pos="0">
              <a:schemeClr val="accent5">
                <a:hueOff val="-3311292"/>
                <a:satOff val="13270"/>
                <a:lumOff val="2876"/>
                <a:alphaOff val="0"/>
                <a:shade val="51000"/>
                <a:satMod val="130000"/>
              </a:schemeClr>
            </a:gs>
            <a:gs pos="80000">
              <a:schemeClr val="accent5">
                <a:hueOff val="-3311292"/>
                <a:satOff val="13270"/>
                <a:lumOff val="2876"/>
                <a:alphaOff val="0"/>
                <a:shade val="93000"/>
                <a:satMod val="130000"/>
              </a:schemeClr>
            </a:gs>
            <a:gs pos="100000">
              <a:schemeClr val="accent5">
                <a:hueOff val="-3311292"/>
                <a:satOff val="13270"/>
                <a:lumOff val="287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b="0" kern="1200" dirty="0" smtClean="0"/>
            <a:t>STUDENT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b="0" kern="1200" dirty="0" smtClean="0"/>
            <a:t>EXCHANGE</a:t>
          </a:r>
          <a:endParaRPr lang="id-ID" sz="1600" b="0" kern="1200" dirty="0"/>
        </a:p>
      </dsp:txBody>
      <dsp:txXfrm>
        <a:off x="4068371" y="2311566"/>
        <a:ext cx="1061568" cy="921483"/>
      </dsp:txXfrm>
    </dsp:sp>
    <dsp:sp modelId="{FA576EEE-20BA-4615-B5A3-8E886CF8A761}">
      <dsp:nvSpPr>
        <dsp:cNvPr id="0" name=""/>
        <dsp:cNvSpPr/>
      </dsp:nvSpPr>
      <dsp:spPr>
        <a:xfrm>
          <a:off x="1858219" y="4096105"/>
          <a:ext cx="1531101" cy="1303175"/>
        </a:xfrm>
        <a:prstGeom prst="ellipse">
          <a:avLst/>
        </a:prstGeom>
        <a:gradFill rotWithShape="0">
          <a:gsLst>
            <a:gs pos="0">
              <a:schemeClr val="accent5">
                <a:hueOff val="-6622584"/>
                <a:satOff val="26541"/>
                <a:lumOff val="5752"/>
                <a:alphaOff val="0"/>
                <a:shade val="51000"/>
                <a:satMod val="130000"/>
              </a:schemeClr>
            </a:gs>
            <a:gs pos="80000">
              <a:schemeClr val="accent5">
                <a:hueOff val="-6622584"/>
                <a:satOff val="26541"/>
                <a:lumOff val="5752"/>
                <a:alphaOff val="0"/>
                <a:shade val="93000"/>
                <a:satMod val="130000"/>
              </a:schemeClr>
            </a:gs>
            <a:gs pos="100000">
              <a:schemeClr val="accent5">
                <a:hueOff val="-6622584"/>
                <a:satOff val="26541"/>
                <a:lumOff val="575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b="0" kern="1200" dirty="0" smtClean="0"/>
            <a:t>ACADEMIC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b="0" kern="1200" dirty="0" smtClean="0"/>
            <a:t>VISIT</a:t>
          </a:r>
          <a:endParaRPr lang="id-ID" sz="1600" b="0" kern="1200" dirty="0"/>
        </a:p>
      </dsp:txBody>
      <dsp:txXfrm>
        <a:off x="2082444" y="4286951"/>
        <a:ext cx="1082651" cy="921483"/>
      </dsp:txXfrm>
    </dsp:sp>
    <dsp:sp modelId="{23515A52-D225-456A-AC8B-73C327F06349}">
      <dsp:nvSpPr>
        <dsp:cNvPr id="0" name=""/>
        <dsp:cNvSpPr/>
      </dsp:nvSpPr>
      <dsp:spPr>
        <a:xfrm>
          <a:off x="-90874" y="2120720"/>
          <a:ext cx="1478518" cy="1303175"/>
        </a:xfrm>
        <a:prstGeom prst="ellipse">
          <a:avLst/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shade val="51000"/>
                <a:satMod val="130000"/>
              </a:schemeClr>
            </a:gs>
            <a:gs pos="80000">
              <a:schemeClr val="accent5">
                <a:hueOff val="-9933876"/>
                <a:satOff val="39811"/>
                <a:lumOff val="8628"/>
                <a:alphaOff val="0"/>
                <a:shade val="93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b="0" kern="1200" dirty="0" smtClean="0"/>
            <a:t>SUMMER PROGRAM</a:t>
          </a:r>
          <a:endParaRPr lang="id-ID" sz="1600" b="0" kern="1200" dirty="0"/>
        </a:p>
      </dsp:txBody>
      <dsp:txXfrm>
        <a:off x="125650" y="2311566"/>
        <a:ext cx="1045470" cy="92148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9AF875-405A-468F-8377-575FDA9752F2}">
      <dsp:nvSpPr>
        <dsp:cNvPr id="0" name=""/>
        <dsp:cNvSpPr/>
      </dsp:nvSpPr>
      <dsp:spPr>
        <a:xfrm rot="10800000">
          <a:off x="818152" y="536"/>
          <a:ext cx="2561526" cy="691822"/>
        </a:xfrm>
        <a:prstGeom prst="homePlat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5074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300" b="1" kern="1200" smtClean="0"/>
            <a:t>SANDWICH PROGRAM</a:t>
          </a:r>
          <a:endParaRPr lang="id-ID" sz="1300" b="1" kern="1200" dirty="0"/>
        </a:p>
      </dsp:txBody>
      <dsp:txXfrm rot="10800000">
        <a:off x="991107" y="536"/>
        <a:ext cx="2388571" cy="691822"/>
      </dsp:txXfrm>
    </dsp:sp>
    <dsp:sp modelId="{E60071E4-28D9-4608-B333-BFD0CD172918}">
      <dsp:nvSpPr>
        <dsp:cNvPr id="0" name=""/>
        <dsp:cNvSpPr/>
      </dsp:nvSpPr>
      <dsp:spPr>
        <a:xfrm>
          <a:off x="472241" y="536"/>
          <a:ext cx="691822" cy="691822"/>
        </a:xfrm>
        <a:prstGeom prst="ellipse">
          <a:avLst/>
        </a:prstGeom>
        <a:gradFill rotWithShape="0">
          <a:gsLst>
            <a:gs pos="0">
              <a:schemeClr val="dk2">
                <a:tint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tint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tint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0A159D4D-7D8A-4CAA-9157-12BC94ECF514}">
      <dsp:nvSpPr>
        <dsp:cNvPr id="0" name=""/>
        <dsp:cNvSpPr/>
      </dsp:nvSpPr>
      <dsp:spPr>
        <a:xfrm rot="10800000">
          <a:off x="818152" y="898872"/>
          <a:ext cx="2561526" cy="691822"/>
        </a:xfrm>
        <a:prstGeom prst="homePlat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5074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300" b="1" kern="1200" smtClean="0"/>
            <a:t>EARNING AND TRANSFER CREDIT PROGRAM</a:t>
          </a:r>
          <a:endParaRPr lang="id-ID" sz="1300" b="1" kern="1200" dirty="0"/>
        </a:p>
      </dsp:txBody>
      <dsp:txXfrm rot="10800000">
        <a:off x="991107" y="898872"/>
        <a:ext cx="2388571" cy="691822"/>
      </dsp:txXfrm>
    </dsp:sp>
    <dsp:sp modelId="{BCD44CED-9489-4DB1-9A6A-C50AF7941FB6}">
      <dsp:nvSpPr>
        <dsp:cNvPr id="0" name=""/>
        <dsp:cNvSpPr/>
      </dsp:nvSpPr>
      <dsp:spPr>
        <a:xfrm>
          <a:off x="472241" y="898872"/>
          <a:ext cx="691822" cy="691822"/>
        </a:xfrm>
        <a:prstGeom prst="ellipse">
          <a:avLst/>
        </a:prstGeom>
        <a:gradFill rotWithShape="0">
          <a:gsLst>
            <a:gs pos="0">
              <a:schemeClr val="dk2">
                <a:tint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tint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tint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5846812E-8C44-4E8B-BA10-4E3BD21ABAF7}">
      <dsp:nvSpPr>
        <dsp:cNvPr id="0" name=""/>
        <dsp:cNvSpPr/>
      </dsp:nvSpPr>
      <dsp:spPr>
        <a:xfrm rot="10800000">
          <a:off x="818152" y="1797208"/>
          <a:ext cx="2561526" cy="691822"/>
        </a:xfrm>
        <a:prstGeom prst="homePlat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5074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300" b="1" kern="1200" smtClean="0"/>
            <a:t>JOINT DEGREE AND COLLABORATIVE DEGREE</a:t>
          </a:r>
          <a:endParaRPr lang="id-ID" sz="1300" b="1" kern="1200" dirty="0"/>
        </a:p>
      </dsp:txBody>
      <dsp:txXfrm rot="10800000">
        <a:off x="991107" y="1797208"/>
        <a:ext cx="2388571" cy="691822"/>
      </dsp:txXfrm>
    </dsp:sp>
    <dsp:sp modelId="{4031EF21-9293-44E5-85CA-6E13E935B7A1}">
      <dsp:nvSpPr>
        <dsp:cNvPr id="0" name=""/>
        <dsp:cNvSpPr/>
      </dsp:nvSpPr>
      <dsp:spPr>
        <a:xfrm>
          <a:off x="472241" y="1797208"/>
          <a:ext cx="691822" cy="691822"/>
        </a:xfrm>
        <a:prstGeom prst="ellipse">
          <a:avLst/>
        </a:prstGeom>
        <a:gradFill rotWithShape="0">
          <a:gsLst>
            <a:gs pos="0">
              <a:schemeClr val="dk2">
                <a:tint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tint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tint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79C412E4-A656-473C-8D54-160D5E4F8663}">
      <dsp:nvSpPr>
        <dsp:cNvPr id="0" name=""/>
        <dsp:cNvSpPr/>
      </dsp:nvSpPr>
      <dsp:spPr>
        <a:xfrm rot="10800000">
          <a:off x="818152" y="2695545"/>
          <a:ext cx="2561526" cy="691822"/>
        </a:xfrm>
        <a:prstGeom prst="homePlat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5074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300" b="1" kern="1200" smtClean="0"/>
            <a:t>JOINT RESEARCH AND TEACHING</a:t>
          </a:r>
          <a:endParaRPr lang="id-ID" sz="1300" b="1" kern="1200" dirty="0"/>
        </a:p>
      </dsp:txBody>
      <dsp:txXfrm rot="10800000">
        <a:off x="991107" y="2695545"/>
        <a:ext cx="2388571" cy="691822"/>
      </dsp:txXfrm>
    </dsp:sp>
    <dsp:sp modelId="{451A53F3-07C0-4FF8-AA5B-DEA7E97494AD}">
      <dsp:nvSpPr>
        <dsp:cNvPr id="0" name=""/>
        <dsp:cNvSpPr/>
      </dsp:nvSpPr>
      <dsp:spPr>
        <a:xfrm>
          <a:off x="472241" y="2695545"/>
          <a:ext cx="691822" cy="691822"/>
        </a:xfrm>
        <a:prstGeom prst="ellipse">
          <a:avLst/>
        </a:prstGeom>
        <a:gradFill rotWithShape="0">
          <a:gsLst>
            <a:gs pos="0">
              <a:schemeClr val="dk2">
                <a:tint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tint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tint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539AEF72-0CA8-4FFA-B708-4A1B20C2DF65}">
      <dsp:nvSpPr>
        <dsp:cNvPr id="0" name=""/>
        <dsp:cNvSpPr/>
      </dsp:nvSpPr>
      <dsp:spPr>
        <a:xfrm rot="10800000">
          <a:off x="818152" y="3593881"/>
          <a:ext cx="2561526" cy="691822"/>
        </a:xfrm>
        <a:prstGeom prst="homePlat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5074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300" b="1" kern="1200" smtClean="0"/>
            <a:t>GUEST TEACHER AND LECTURER, PROFESSOR PROGRAM</a:t>
          </a:r>
          <a:endParaRPr lang="id-ID" sz="1300" b="1" kern="1200" dirty="0"/>
        </a:p>
      </dsp:txBody>
      <dsp:txXfrm rot="10800000">
        <a:off x="991107" y="3593881"/>
        <a:ext cx="2388571" cy="691822"/>
      </dsp:txXfrm>
    </dsp:sp>
    <dsp:sp modelId="{491130BC-1264-4A6A-80C1-361B94E5FFEA}">
      <dsp:nvSpPr>
        <dsp:cNvPr id="0" name=""/>
        <dsp:cNvSpPr/>
      </dsp:nvSpPr>
      <dsp:spPr>
        <a:xfrm>
          <a:off x="472241" y="3593881"/>
          <a:ext cx="691822" cy="691822"/>
        </a:xfrm>
        <a:prstGeom prst="ellipse">
          <a:avLst/>
        </a:prstGeom>
        <a:gradFill rotWithShape="0">
          <a:gsLst>
            <a:gs pos="0">
              <a:schemeClr val="dk2">
                <a:tint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tint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tint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1A96D433-7F15-402F-9CA6-BA1177631D98}">
      <dsp:nvSpPr>
        <dsp:cNvPr id="0" name=""/>
        <dsp:cNvSpPr/>
      </dsp:nvSpPr>
      <dsp:spPr>
        <a:xfrm rot="10800000">
          <a:off x="818152" y="4492217"/>
          <a:ext cx="2561526" cy="691822"/>
        </a:xfrm>
        <a:prstGeom prst="homePlat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5074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300" b="1" kern="1200" smtClean="0"/>
            <a:t>GLOBAL STUDENTS  OUTRECH</a:t>
          </a:r>
          <a:endParaRPr lang="id-ID" sz="1300" b="1" kern="1200" dirty="0"/>
        </a:p>
      </dsp:txBody>
      <dsp:txXfrm rot="10800000">
        <a:off x="991107" y="4492217"/>
        <a:ext cx="2388571" cy="691822"/>
      </dsp:txXfrm>
    </dsp:sp>
    <dsp:sp modelId="{D13EDC59-F7D5-4575-9224-9A1426C7AAAC}">
      <dsp:nvSpPr>
        <dsp:cNvPr id="0" name=""/>
        <dsp:cNvSpPr/>
      </dsp:nvSpPr>
      <dsp:spPr>
        <a:xfrm>
          <a:off x="472241" y="4492217"/>
          <a:ext cx="691822" cy="691822"/>
        </a:xfrm>
        <a:prstGeom prst="ellipse">
          <a:avLst/>
        </a:prstGeom>
        <a:gradFill rotWithShape="0">
          <a:gsLst>
            <a:gs pos="0">
              <a:schemeClr val="dk2">
                <a:tint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tint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tint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EECEF9-8763-4F13-B513-354253E4FE0C}" type="datetimeFigureOut">
              <a:rPr lang="id-ID" smtClean="0"/>
              <a:pPr/>
              <a:t>19/08/2020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84BDA-F9E1-4325-B637-91938ECF23D1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1847805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89481-6ED6-4BD9-BE8C-9C6AB6A0414D}" type="slidenum">
              <a:rPr lang="en-US" sz="1000">
                <a:solidFill>
                  <a:prstClr val="black"/>
                </a:solidFill>
              </a:rPr>
              <a:pPr/>
              <a:t>1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7333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750468-71D4-4C53-AC53-AC3B7D9D292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5462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4628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7388" y="4343400"/>
            <a:ext cx="5483225" cy="4114800"/>
          </a:xfrm>
          <a:noFill/>
        </p:spPr>
        <p:txBody>
          <a:bodyPr wrap="square" lIns="91421" tIns="45711" rIns="91421" bIns="45711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54629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1" tIns="45711" rIns="91421" bIns="45711" anchor="b"/>
          <a:lstStyle/>
          <a:p>
            <a:pPr algn="r" defTabSz="893763"/>
            <a:fld id="{A1D36CDB-BBEB-4B0C-B95C-2EC7E9FE8FF7}" type="slidenum">
              <a:rPr lang="en-US" sz="1200">
                <a:solidFill>
                  <a:srgbClr val="000000"/>
                </a:solidFill>
              </a:rPr>
              <a:pPr algn="r" defTabSz="893763"/>
              <a:t>2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91254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806DDB7-11AE-4A41-A9B0-C6A48597EC98}" type="slidenum">
              <a:rPr lang="en-US"/>
              <a:pPr/>
              <a:t>9</a:t>
            </a:fld>
            <a:endParaRPr lang="en-US"/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id-ID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551402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022026DD-A800-4856-B427-6D7B39C7D3ED}" type="slidenum">
              <a:rPr lang="en-US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id-ID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33326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5D24A3E-8595-4773-945E-12CAD3160FFF}" type="slidenum">
              <a:rPr lang="en-US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id-ID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9300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D34228C3-5CE3-4D15-A0B4-E4D3DF4B9F01}" type="slidenum">
              <a:rPr lang="en-US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id-ID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76887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A60DE9E-B150-43E5-B684-2B15759419A0}" type="slidenum">
              <a:rPr lang="en-US"/>
              <a:pPr/>
              <a:t>13</a:t>
            </a:fld>
            <a:endParaRPr lang="en-US"/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id-ID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912440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1DA0A0E-7B34-416D-B986-7DA3BE9494E8}" type="slidenum">
              <a:rPr lang="en-US"/>
              <a:pPr/>
              <a:t>14</a:t>
            </a:fld>
            <a:endParaRPr lang="en-US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id-ID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34243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924107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00991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484039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09080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45673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92243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59574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3716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59749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64408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3163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8225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35008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77970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6915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274638"/>
            <a:ext cx="77724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DBFD48F5-EB72-4393-97FC-3CD314260718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8713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10969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600200" y="1524000"/>
            <a:ext cx="3276600" cy="4602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1524000"/>
            <a:ext cx="3276600" cy="4602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EF9E7286-9B9B-4435-BCA4-B72BE5F19FC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7516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4539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4966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2201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5969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3293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58750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51825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6416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4046" r:id="rId10"/>
    <p:sldLayoutId id="2147484047" r:id="rId11"/>
  </p:sldLayoutIdLst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34E5A6-9C0E-4505-A46A-6503A1D5377F}" type="datetimeFigureOut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9/08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16CF6-F9E0-4486-A45B-EECD2D6B878D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85668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  <p:sldLayoutId id="2147484060" r:id="rId12"/>
    <p:sldLayoutId id="21474840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diagramLayout" Target="../diagrams/layout1.xml"/><Relationship Id="rId7" Type="http://schemas.openxmlformats.org/officeDocument/2006/relationships/diagramLayout" Target="../diagrams/layout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openxmlformats.org/officeDocument/2006/relationships/diagramData" Target="../diagrams/data2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1.xml"/><Relationship Id="rId10" Type="http://schemas.microsoft.com/office/2007/relationships/diagramDrawing" Target="../diagrams/drawing3.xml"/><Relationship Id="rId4" Type="http://schemas.openxmlformats.org/officeDocument/2006/relationships/diagramQuickStyle" Target="../diagrams/quickStyle1.xml"/><Relationship Id="rId9" Type="http://schemas.openxmlformats.org/officeDocument/2006/relationships/diagramColors" Target="../diagrams/colors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772733"/>
            <a:ext cx="9144000" cy="28803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id-ID"/>
          </a:p>
        </p:txBody>
      </p:sp>
      <p:sp>
        <p:nvSpPr>
          <p:cNvPr id="11" name="Oval 10"/>
          <p:cNvSpPr/>
          <p:nvPr/>
        </p:nvSpPr>
        <p:spPr>
          <a:xfrm>
            <a:off x="7020272" y="5018754"/>
            <a:ext cx="1634765" cy="1623693"/>
          </a:xfrm>
          <a:prstGeom prst="ellipse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2" name="Oval 11"/>
          <p:cNvSpPr/>
          <p:nvPr/>
        </p:nvSpPr>
        <p:spPr>
          <a:xfrm>
            <a:off x="7020272" y="5157192"/>
            <a:ext cx="1634765" cy="1417712"/>
          </a:xfrm>
          <a:prstGeom prst="ellipse">
            <a:avLst/>
          </a:prstGeom>
          <a:noFill/>
          <a:ln>
            <a:solidFill>
              <a:srgbClr val="92D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3" name="Oval 12"/>
          <p:cNvSpPr/>
          <p:nvPr/>
        </p:nvSpPr>
        <p:spPr>
          <a:xfrm>
            <a:off x="7055768" y="5267131"/>
            <a:ext cx="1634765" cy="1254130"/>
          </a:xfrm>
          <a:prstGeom prst="ellipse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Rectangle 2"/>
          <p:cNvSpPr/>
          <p:nvPr/>
        </p:nvSpPr>
        <p:spPr>
          <a:xfrm>
            <a:off x="467544" y="282227"/>
            <a:ext cx="4938129" cy="1368566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Plain">
              <a:avLst/>
            </a:prstTxWarp>
            <a:spAutoFit/>
          </a:bodyPr>
          <a:lstStyle/>
          <a:p>
            <a:pPr algn="ctr"/>
            <a:r>
              <a:rPr lang="id-ID" sz="5400" dirty="0" smtClean="0">
                <a:ln w="0"/>
                <a:solidFill>
                  <a:srgbClr val="CC33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ENTINGNYA KURIKULUM DALAM PENDIDIKAN  </a:t>
            </a:r>
          </a:p>
          <a:p>
            <a:pPr algn="ctr"/>
            <a:r>
              <a:rPr lang="id-ID" sz="5400" dirty="0" smtClean="0">
                <a:ln w="0"/>
                <a:solidFill>
                  <a:srgbClr val="CC33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endParaRPr lang="id-ID" sz="5400" b="0" cap="none" spc="0" dirty="0" smtClean="0">
              <a:ln w="0"/>
              <a:solidFill>
                <a:srgbClr val="CC33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7364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304800" y="2953544"/>
            <a:ext cx="8534400" cy="3200400"/>
          </a:xfrm>
          <a:prstGeom prst="rect">
            <a:avLst/>
          </a:prstGeom>
          <a:solidFill>
            <a:srgbClr val="F8F4A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id-ID">
              <a:solidFill>
                <a:prstClr val="black"/>
              </a:solidFill>
            </a:endParaRPr>
          </a:p>
        </p:txBody>
      </p:sp>
      <p:grpSp>
        <p:nvGrpSpPr>
          <p:cNvPr id="25611" name="Group 11"/>
          <p:cNvGrpSpPr>
            <a:grpSpLocks/>
          </p:cNvGrpSpPr>
          <p:nvPr/>
        </p:nvGrpSpPr>
        <p:grpSpPr bwMode="auto">
          <a:xfrm>
            <a:off x="304800" y="1124744"/>
            <a:ext cx="8534400" cy="1676400"/>
            <a:chOff x="192" y="960"/>
            <a:chExt cx="5376" cy="1056"/>
          </a:xfrm>
        </p:grpSpPr>
        <p:sp>
          <p:nvSpPr>
            <p:cNvPr id="21511" name="Rectangle 10"/>
            <p:cNvSpPr>
              <a:spLocks noChangeArrowheads="1"/>
            </p:cNvSpPr>
            <p:nvPr/>
          </p:nvSpPr>
          <p:spPr bwMode="auto">
            <a:xfrm>
              <a:off x="192" y="960"/>
              <a:ext cx="5376" cy="1056"/>
            </a:xfrm>
            <a:prstGeom prst="rect">
              <a:avLst/>
            </a:prstGeom>
            <a:solidFill>
              <a:srgbClr val="F8F4A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id-ID">
                <a:solidFill>
                  <a:prstClr val="black"/>
                </a:solidFill>
              </a:endParaRPr>
            </a:p>
          </p:txBody>
        </p:sp>
        <p:sp>
          <p:nvSpPr>
            <p:cNvPr id="21512" name="Text Box 6"/>
            <p:cNvSpPr txBox="1">
              <a:spLocks noChangeArrowheads="1"/>
            </p:cNvSpPr>
            <p:nvPr/>
          </p:nvSpPr>
          <p:spPr bwMode="auto">
            <a:xfrm>
              <a:off x="768" y="1104"/>
              <a:ext cx="4167" cy="7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8F4A6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sz="2400" b="1">
                  <a:solidFill>
                    <a:prstClr val="black"/>
                  </a:solidFill>
                  <a:latin typeface="Comic Sans MS" panose="030F0702030302020204" pitchFamily="66" charset="0"/>
                </a:rPr>
                <a:t>Yaitu penguasaan ilmu pengetahuan, teknologi dan ketrampilan teknis yang berhubungan dengan bidang ilmunya.</a:t>
              </a:r>
            </a:p>
          </p:txBody>
        </p:sp>
      </p:grpSp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504825" y="3258344"/>
            <a:ext cx="8153400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8F4A6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id-ID" sz="2000" dirty="0" smtClean="0">
                <a:solidFill>
                  <a:srgbClr val="660066"/>
                </a:solidFill>
                <a:latin typeface="Comic Sans MS" panose="030F0702030302020204" pitchFamily="66" charset="0"/>
              </a:rPr>
              <a:t>Sarjana Pendidikan Teknik tertentu </a:t>
            </a:r>
            <a:r>
              <a:rPr lang="en-US" sz="2000" dirty="0" smtClean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seharusnya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menguasai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ilmu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id-ID" sz="2000" dirty="0" smtClean="0">
                <a:solidFill>
                  <a:srgbClr val="660066"/>
                </a:solidFill>
                <a:latin typeface="Comic Sans MS" panose="030F0702030302020204" pitchFamily="66" charset="0"/>
              </a:rPr>
              <a:t>Pendidikan </a:t>
            </a:r>
            <a:r>
              <a:rPr lang="en-US" sz="2000" dirty="0" err="1" smtClean="0">
                <a:solidFill>
                  <a:srgbClr val="660066"/>
                </a:solidFill>
                <a:latin typeface="Comic Sans MS" panose="030F0702030302020204" pitchFamily="66" charset="0"/>
              </a:rPr>
              <a:t>dan</a:t>
            </a:r>
            <a:r>
              <a:rPr lang="en-US" sz="2000" dirty="0" smtClean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teknik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 </a:t>
            </a:r>
            <a:r>
              <a:rPr lang="id-ID" sz="2000" dirty="0" smtClean="0">
                <a:solidFill>
                  <a:srgbClr val="660066"/>
                </a:solidFill>
                <a:latin typeface="Comic Sans MS" panose="030F0702030302020204" pitchFamily="66" charset="0"/>
              </a:rPr>
              <a:t>tertentu</a:t>
            </a:r>
            <a:r>
              <a:rPr lang="en-US" sz="2000" dirty="0" smtClean="0">
                <a:solidFill>
                  <a:srgbClr val="660066"/>
                </a:solidFill>
                <a:latin typeface="Comic Sans MS" panose="030F0702030302020204" pitchFamily="66" charset="0"/>
              </a:rPr>
              <a:t>,</a:t>
            </a:r>
            <a:endParaRPr lang="en-US" sz="2000" dirty="0">
              <a:solidFill>
                <a:srgbClr val="660066"/>
              </a:solidFill>
              <a:latin typeface="Comic Sans MS" panose="030F0702030302020204" pitchFamily="66" charset="0"/>
            </a:endParaRPr>
          </a:p>
          <a:p>
            <a:pPr algn="ctr"/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Dokter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harus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mumpuni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bidang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ilmu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kedokteran</a:t>
            </a:r>
            <a:endParaRPr lang="en-US" sz="2000" dirty="0">
              <a:solidFill>
                <a:srgbClr val="660066"/>
              </a:solidFill>
              <a:latin typeface="Comic Sans MS" panose="030F0702030302020204" pitchFamily="66" charset="0"/>
            </a:endParaRPr>
          </a:p>
          <a:p>
            <a:pPr algn="ctr"/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Pemain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sepak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bola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mempunyai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ketrampilan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teknik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>
                <a:solidFill>
                  <a:srgbClr val="660066"/>
                </a:solidFill>
                <a:latin typeface="Comic Sans MS" panose="030F0702030302020204" pitchFamily="66" charset="0"/>
              </a:rPr>
              <a:t>menggiring</a:t>
            </a:r>
            <a:r>
              <a:rPr lang="en-US" sz="2000" dirty="0">
                <a:solidFill>
                  <a:srgbClr val="660066"/>
                </a:solidFill>
                <a:latin typeface="Comic Sans MS" panose="030F0702030302020204" pitchFamily="66" charset="0"/>
              </a:rPr>
              <a:t> bola </a:t>
            </a:r>
          </a:p>
        </p:txBody>
      </p:sp>
      <p:sp>
        <p:nvSpPr>
          <p:cNvPr id="25608" name="Text Box 8"/>
          <p:cNvSpPr txBox="1">
            <a:spLocks noChangeArrowheads="1"/>
          </p:cNvSpPr>
          <p:nvPr/>
        </p:nvSpPr>
        <p:spPr bwMode="auto">
          <a:xfrm>
            <a:off x="838200" y="4553744"/>
            <a:ext cx="7467600" cy="1187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2400" b="1">
                <a:solidFill>
                  <a:srgbClr val="660066"/>
                </a:solidFill>
                <a:latin typeface="Comic Sans MS" panose="030F0702030302020204" pitchFamily="66" charset="0"/>
              </a:rPr>
              <a:t>Setiap profesi dituntut mempunyai hardskill yang khusus, tetapi softskills bisa merupakan kemampuan yang harus dimiliki di setiap profesi</a:t>
            </a: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sz="2000" b="1" dirty="0" smtClean="0">
                <a:solidFill>
                  <a:srgbClr val="FFFF66"/>
                </a:solidFill>
                <a:latin typeface="Arial Unicode MS" pitchFamily="34" charset="-128"/>
              </a:rPr>
              <a:t>KEPEMILIKAN HARD SKILLS</a:t>
            </a:r>
            <a:endParaRPr lang="en-US" sz="2000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6368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1000"/>
                                        <p:tgtEl>
                                          <p:spTgt spid="256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18" presetClass="entr" presetSubtype="12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1" dur="1000"/>
                                        <p:tgtEl>
                                          <p:spTgt spid="25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1000"/>
                                        <p:tgtEl>
                                          <p:spTgt spid="256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0" dur="1000"/>
                                        <p:tgtEl>
                                          <p:spTgt spid="256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2" grpId="0" animBg="1"/>
      <p:bldP spid="25607" grpId="0"/>
      <p:bldP spid="2560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600" y="980728"/>
            <a:ext cx="8001000" cy="5135562"/>
          </a:xfrm>
          <a:solidFill>
            <a:srgbClr val="D9B3FF"/>
          </a:solidFill>
        </p:spPr>
        <p:txBody>
          <a:bodyPr>
            <a:normAutofit lnSpcReduction="10000"/>
          </a:bodyPr>
          <a:lstStyle/>
          <a:p>
            <a:pPr marL="974725" indent="-404813" eaLnBrk="1" hangingPunct="1">
              <a:lnSpc>
                <a:spcPct val="80000"/>
              </a:lnSpc>
            </a:pP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id-ID" altLang="zh-CN" sz="2800" dirty="0" smtClean="0">
                <a:ea typeface="SimSun" panose="02010600030101010101" pitchFamily="2" charset="-122"/>
              </a:rPr>
              <a:t>Disiplin</a:t>
            </a:r>
          </a:p>
          <a:p>
            <a:pPr marL="974725" indent="-404813" eaLnBrk="1" hangingPunct="1">
              <a:lnSpc>
                <a:spcPct val="80000"/>
              </a:lnSpc>
            </a:pPr>
            <a:r>
              <a:rPr lang="id-ID" altLang="zh-CN" sz="2800" dirty="0" smtClean="0">
                <a:ea typeface="SimSun" panose="02010600030101010101" pitchFamily="2" charset="-122"/>
              </a:rPr>
              <a:t>Prilaku baik</a:t>
            </a: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Kejujuran</a:t>
            </a: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Tanggung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jawab</a:t>
            </a: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Berlaku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adil</a:t>
            </a: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Kemampuan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bekerja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sama</a:t>
            </a: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Kemampuan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beradaptasi</a:t>
            </a: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Kemampuan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berkomunikasi</a:t>
            </a: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Toleran</a:t>
            </a: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Hormat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terhadap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sesama</a:t>
            </a: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Kemampuan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mengambil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keputusan</a:t>
            </a:r>
            <a:endParaRPr lang="en-GB" altLang="zh-CN" sz="2800" dirty="0" smtClean="0">
              <a:ea typeface="SimSun" panose="02010600030101010101" pitchFamily="2" charset="-122"/>
            </a:endParaRPr>
          </a:p>
          <a:p>
            <a:pPr marL="974725" indent="-404813" eaLnBrk="1" hangingPunct="1">
              <a:lnSpc>
                <a:spcPct val="80000"/>
              </a:lnSpc>
            </a:pPr>
            <a:r>
              <a:rPr lang="en-GB" altLang="zh-CN" sz="2800" dirty="0" err="1" smtClean="0">
                <a:ea typeface="SimSun" panose="02010600030101010101" pitchFamily="2" charset="-122"/>
              </a:rPr>
              <a:t>Kemampuan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memecahkan</a:t>
            </a:r>
            <a:r>
              <a:rPr lang="en-GB" altLang="zh-CN" sz="2800" dirty="0" smtClean="0">
                <a:ea typeface="SimSun" panose="02010600030101010101" pitchFamily="2" charset="-122"/>
              </a:rPr>
              <a:t>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masalah</a:t>
            </a:r>
            <a:r>
              <a:rPr lang="en-GB" altLang="zh-CN" sz="2800" dirty="0" smtClean="0">
                <a:ea typeface="SimSun" panose="02010600030101010101" pitchFamily="2" charset="-122"/>
              </a:rPr>
              <a:t>, </a:t>
            </a:r>
            <a:r>
              <a:rPr lang="en-GB" altLang="zh-CN" sz="2800" dirty="0" err="1" smtClean="0">
                <a:ea typeface="SimSun" panose="02010600030101010101" pitchFamily="2" charset="-122"/>
              </a:rPr>
              <a:t>dsb</a:t>
            </a:r>
            <a:endParaRPr lang="en-US" sz="2800" dirty="0" smtClean="0"/>
          </a:p>
        </p:txBody>
      </p:sp>
      <p:sp>
        <p:nvSpPr>
          <p:cNvPr id="4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sz="2000" b="1" dirty="0" smtClean="0">
                <a:solidFill>
                  <a:srgbClr val="FFFF66"/>
                </a:solidFill>
                <a:latin typeface="Arial Unicode MS" pitchFamily="34" charset="-128"/>
              </a:rPr>
              <a:t>KEPEMILIKAN SOFT SKILLS</a:t>
            </a:r>
            <a:endParaRPr lang="en-US" sz="2000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9841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ChangeArrowheads="1"/>
          </p:cNvSpPr>
          <p:nvPr/>
        </p:nvSpPr>
        <p:spPr bwMode="auto">
          <a:xfrm>
            <a:off x="215205" y="1052736"/>
            <a:ext cx="4648200" cy="5105400"/>
          </a:xfrm>
          <a:prstGeom prst="rect">
            <a:avLst/>
          </a:prstGeom>
          <a:solidFill>
            <a:srgbClr val="F1EFC7"/>
          </a:solidFill>
          <a:ln w="9525">
            <a:solidFill>
              <a:srgbClr val="FFCC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24579" name="Rectangle 3"/>
          <p:cNvSpPr>
            <a:spLocks noChangeArrowheads="1"/>
          </p:cNvSpPr>
          <p:nvPr/>
        </p:nvSpPr>
        <p:spPr bwMode="auto">
          <a:xfrm>
            <a:off x="4958655" y="1052736"/>
            <a:ext cx="3933825" cy="5105400"/>
          </a:xfrm>
          <a:prstGeom prst="rect">
            <a:avLst/>
          </a:prstGeom>
          <a:solidFill>
            <a:srgbClr val="FFD9D9"/>
          </a:solidFill>
          <a:ln w="9525">
            <a:solidFill>
              <a:srgbClr val="FFC1C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4821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00034" y="1276574"/>
            <a:ext cx="3990309" cy="3509748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FAFBD5"/>
                </a:solidFill>
              </a14:hiddenFill>
            </a:ext>
          </a:extLst>
        </p:spPr>
        <p:txBody>
          <a:bodyPr>
            <a:normAutofit fontScale="92500"/>
          </a:bodyPr>
          <a:lstStyle/>
          <a:p>
            <a:pPr marL="0" indent="0" eaLnBrk="1" hangingPunct="1">
              <a:lnSpc>
                <a:spcPct val="85000"/>
              </a:lnSpc>
              <a:spcBef>
                <a:spcPct val="50000"/>
              </a:spcBef>
              <a:buFontTx/>
              <a:buNone/>
            </a:pPr>
            <a:r>
              <a:rPr lang="en-US" sz="3600" b="1" dirty="0" smtClean="0">
                <a:solidFill>
                  <a:srgbClr val="6600CC"/>
                </a:solidFill>
                <a:latin typeface="Comic Sans MS" panose="030F0702030302020204" pitchFamily="66" charset="0"/>
              </a:rPr>
              <a:t>Hard skills</a:t>
            </a:r>
            <a:r>
              <a:rPr lang="en-US" sz="3600" b="1" dirty="0" smtClean="0">
                <a:solidFill>
                  <a:schemeClr val="accent2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smtClean="0">
                <a:solidFill>
                  <a:schemeClr val="accent2"/>
                </a:solidFill>
                <a:latin typeface="Comic Sans MS" panose="030F0702030302020204" pitchFamily="66" charset="0"/>
              </a:rPr>
              <a:t>(</a:t>
            </a:r>
            <a:r>
              <a:rPr lang="en-US" sz="2000" dirty="0" err="1" smtClean="0">
                <a:solidFill>
                  <a:schemeClr val="accent2"/>
                </a:solidFill>
                <a:latin typeface="Comic Sans MS" panose="030F0702030302020204" pitchFamily="66" charset="0"/>
              </a:rPr>
              <a:t>Kemampuan</a:t>
            </a:r>
            <a:r>
              <a:rPr lang="en-US" sz="2000" dirty="0" smtClean="0">
                <a:solidFill>
                  <a:schemeClr val="accent2"/>
                </a:solidFill>
                <a:latin typeface="Comic Sans MS" panose="030F0702030302020204" pitchFamily="66" charset="0"/>
              </a:rPr>
              <a:t> </a:t>
            </a:r>
            <a:r>
              <a:rPr lang="en-US" sz="2000" dirty="0" err="1" smtClean="0">
                <a:solidFill>
                  <a:schemeClr val="accent2"/>
                </a:solidFill>
                <a:latin typeface="Comic Sans MS" panose="030F0702030302020204" pitchFamily="66" charset="0"/>
              </a:rPr>
              <a:t>Teknis</a:t>
            </a:r>
            <a:r>
              <a:rPr lang="en-US" sz="2000" dirty="0" smtClean="0">
                <a:solidFill>
                  <a:schemeClr val="accent2"/>
                </a:solidFill>
                <a:latin typeface="Comic Sans MS" panose="030F0702030302020204" pitchFamily="66" charset="0"/>
              </a:rPr>
              <a:t>)</a:t>
            </a:r>
          </a:p>
          <a:p>
            <a:pPr marL="0" indent="0" eaLnBrk="1" hangingPunct="1">
              <a:lnSpc>
                <a:spcPct val="85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sz="2800" b="1" dirty="0" smtClean="0">
                <a:solidFill>
                  <a:srgbClr val="006699"/>
                </a:solidFill>
              </a:rPr>
              <a:t>  </a:t>
            </a:r>
            <a:r>
              <a:rPr lang="id-ID" sz="2800" b="1" dirty="0" smtClean="0">
                <a:solidFill>
                  <a:srgbClr val="006699"/>
                </a:solidFill>
              </a:rPr>
              <a:t>Memilih bahan makanan </a:t>
            </a:r>
            <a:endParaRPr lang="en-US" sz="2800" b="1" dirty="0" smtClean="0">
              <a:solidFill>
                <a:srgbClr val="006699"/>
              </a:solidFill>
            </a:endParaRPr>
          </a:p>
          <a:p>
            <a:pPr marL="0" indent="0" eaLnBrk="1" hangingPunct="1">
              <a:lnSpc>
                <a:spcPct val="85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sz="2800" b="1" dirty="0" smtClean="0">
                <a:solidFill>
                  <a:srgbClr val="006699"/>
                </a:solidFill>
              </a:rPr>
              <a:t>  </a:t>
            </a:r>
            <a:r>
              <a:rPr lang="en-US" sz="2800" b="1" dirty="0" smtClean="0">
                <a:solidFill>
                  <a:srgbClr val="006699"/>
                </a:solidFill>
              </a:rPr>
              <a:t>Me</a:t>
            </a:r>
            <a:r>
              <a:rPr lang="id-ID" sz="2800" b="1" dirty="0" smtClean="0">
                <a:solidFill>
                  <a:srgbClr val="006699"/>
                </a:solidFill>
              </a:rPr>
              <a:t>lakukan persiapan </a:t>
            </a:r>
          </a:p>
          <a:p>
            <a:pPr marL="0" indent="0" eaLnBrk="1" hangingPunct="1">
              <a:lnSpc>
                <a:spcPct val="85000"/>
              </a:lnSpc>
              <a:spcBef>
                <a:spcPct val="50000"/>
              </a:spcBef>
              <a:buNone/>
            </a:pPr>
            <a:r>
              <a:rPr lang="id-ID" sz="2800" b="1" dirty="0" smtClean="0">
                <a:solidFill>
                  <a:srgbClr val="006699"/>
                </a:solidFill>
              </a:rPr>
              <a:t> </a:t>
            </a:r>
            <a:r>
              <a:rPr lang="id-ID" sz="2800" b="1" dirty="0" smtClean="0">
                <a:solidFill>
                  <a:srgbClr val="006699"/>
                </a:solidFill>
              </a:rPr>
              <a:t>   </a:t>
            </a:r>
            <a:r>
              <a:rPr lang="id-ID" sz="2800" b="1" dirty="0" smtClean="0">
                <a:solidFill>
                  <a:srgbClr val="006699"/>
                </a:solidFill>
              </a:rPr>
              <a:t>pengolahan makanan</a:t>
            </a:r>
            <a:endParaRPr lang="en-US" sz="2800" b="1" dirty="0" smtClean="0">
              <a:solidFill>
                <a:srgbClr val="006699"/>
              </a:solidFill>
            </a:endParaRPr>
          </a:p>
          <a:p>
            <a:pPr marL="0" indent="0" eaLnBrk="1" hangingPunct="1">
              <a:lnSpc>
                <a:spcPct val="85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sz="2800" b="1" dirty="0" smtClean="0">
                <a:solidFill>
                  <a:srgbClr val="006699"/>
                </a:solidFill>
              </a:rPr>
              <a:t>  </a:t>
            </a:r>
            <a:r>
              <a:rPr lang="id-ID" sz="2800" b="1" dirty="0" smtClean="0">
                <a:solidFill>
                  <a:srgbClr val="006699"/>
                </a:solidFill>
              </a:rPr>
              <a:t>Mengolah makanan yang</a:t>
            </a:r>
          </a:p>
          <a:p>
            <a:pPr marL="0" indent="0" eaLnBrk="1" hangingPunct="1">
              <a:lnSpc>
                <a:spcPct val="85000"/>
              </a:lnSpc>
              <a:spcBef>
                <a:spcPct val="50000"/>
              </a:spcBef>
              <a:buNone/>
            </a:pPr>
            <a:r>
              <a:rPr lang="id-ID" sz="2800" b="1" dirty="0" smtClean="0">
                <a:solidFill>
                  <a:srgbClr val="006699"/>
                </a:solidFill>
              </a:rPr>
              <a:t>    sempurna</a:t>
            </a:r>
          </a:p>
          <a:p>
            <a:pPr marL="0" indent="0" eaLnBrk="1" hangingPunct="1">
              <a:lnSpc>
                <a:spcPct val="85000"/>
              </a:lnSpc>
              <a:spcBef>
                <a:spcPct val="50000"/>
              </a:spcBef>
              <a:buNone/>
            </a:pPr>
            <a:endParaRPr lang="en-GB" sz="2800" b="1" dirty="0" smtClean="0">
              <a:solidFill>
                <a:srgbClr val="006699"/>
              </a:solidFill>
            </a:endParaRPr>
          </a:p>
        </p:txBody>
      </p:sp>
      <p:sp>
        <p:nvSpPr>
          <p:cNvPr id="34824" name="Rectangle 8"/>
          <p:cNvSpPr>
            <a:spLocks noChangeArrowheads="1"/>
          </p:cNvSpPr>
          <p:nvPr/>
        </p:nvSpPr>
        <p:spPr bwMode="auto">
          <a:xfrm>
            <a:off x="5473005" y="1184499"/>
            <a:ext cx="3382963" cy="4868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571500" indent="-571500">
              <a:spcBef>
                <a:spcPct val="35000"/>
              </a:spcBef>
              <a:defRPr/>
            </a:pPr>
            <a:r>
              <a:rPr lang="en-US" sz="3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mic Sans MS" pitchFamily="66" charset="0"/>
              </a:rPr>
              <a:t>Soft skills</a:t>
            </a:r>
          </a:p>
          <a:p>
            <a:pPr marL="571500" indent="-571500">
              <a:spcBef>
                <a:spcPct val="35000"/>
              </a:spcBef>
              <a:buFont typeface="Wingdings" pitchFamily="2" charset="2"/>
              <a:buChar char="q"/>
              <a:defRPr/>
            </a:pPr>
            <a:r>
              <a:rPr lang="en-US" sz="2800" b="1">
                <a:solidFill>
                  <a:srgbClr val="A50021"/>
                </a:solidFill>
                <a:latin typeface="Comic Sans MS" pitchFamily="66" charset="0"/>
              </a:rPr>
              <a:t>Kemampuan bekerjasama </a:t>
            </a:r>
          </a:p>
          <a:p>
            <a:pPr marL="571500" indent="-571500">
              <a:spcBef>
                <a:spcPct val="35000"/>
              </a:spcBef>
              <a:buFont typeface="Wingdings" pitchFamily="2" charset="2"/>
              <a:buChar char="q"/>
              <a:defRPr/>
            </a:pPr>
            <a:r>
              <a:rPr lang="en-US" sz="2800" b="1">
                <a:solidFill>
                  <a:srgbClr val="A50021"/>
                </a:solidFill>
                <a:latin typeface="Comic Sans MS" pitchFamily="66" charset="0"/>
              </a:rPr>
              <a:t>Mengambil inisiatif</a:t>
            </a:r>
          </a:p>
          <a:p>
            <a:pPr marL="571500" indent="-571500">
              <a:spcBef>
                <a:spcPct val="35000"/>
              </a:spcBef>
              <a:buFont typeface="Wingdings" pitchFamily="2" charset="2"/>
              <a:buChar char="q"/>
              <a:defRPr/>
            </a:pPr>
            <a:r>
              <a:rPr lang="en-US" sz="2800" b="1">
                <a:solidFill>
                  <a:srgbClr val="A50021"/>
                </a:solidFill>
                <a:latin typeface="Comic Sans MS" pitchFamily="66" charset="0"/>
              </a:rPr>
              <a:t>Keberanian mengambil keputusan</a:t>
            </a:r>
          </a:p>
          <a:p>
            <a:pPr marL="571500" indent="-571500">
              <a:spcBef>
                <a:spcPct val="35000"/>
              </a:spcBef>
              <a:buFont typeface="Wingdings" pitchFamily="2" charset="2"/>
              <a:buChar char="q"/>
              <a:defRPr/>
            </a:pPr>
            <a:r>
              <a:rPr lang="en-US" sz="2800" b="1">
                <a:solidFill>
                  <a:srgbClr val="A50021"/>
                </a:solidFill>
                <a:latin typeface="Comic Sans MS" pitchFamily="66" charset="0"/>
              </a:rPr>
              <a:t>Gigih</a:t>
            </a: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sz="2000" b="1" dirty="0" smtClean="0">
                <a:solidFill>
                  <a:srgbClr val="FFFF66"/>
                </a:solidFill>
                <a:latin typeface="Arial Unicode MS" pitchFamily="34" charset="-128"/>
              </a:rPr>
              <a:t>CHEF</a:t>
            </a:r>
            <a:endParaRPr lang="en-US" sz="2000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125711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348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4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4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4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4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4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4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4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4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4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2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4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4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4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4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4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4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2" dur="500"/>
                                        <p:tgtEl>
                                          <p:spTgt spid="348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2000"/>
                                        <p:tgtEl>
                                          <p:spTgt spid="348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2000"/>
                                        <p:tgtEl>
                                          <p:spTgt spid="348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2000"/>
                                        <p:tgtEl>
                                          <p:spTgt spid="348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2000"/>
                                        <p:tgtEl>
                                          <p:spTgt spid="348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24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3"/>
          <p:cNvSpPr>
            <a:spLocks noChangeArrowheads="1"/>
          </p:cNvSpPr>
          <p:nvPr/>
        </p:nvSpPr>
        <p:spPr bwMode="auto">
          <a:xfrm>
            <a:off x="914400" y="1373188"/>
            <a:ext cx="7239000" cy="5181600"/>
          </a:xfrm>
          <a:prstGeom prst="rect">
            <a:avLst/>
          </a:prstGeom>
          <a:solidFill>
            <a:srgbClr val="F8F4A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id-ID"/>
          </a:p>
        </p:txBody>
      </p:sp>
      <p:sp>
        <p:nvSpPr>
          <p:cNvPr id="38917" name="Rectangle 5"/>
          <p:cNvSpPr>
            <a:spLocks noGrp="1" noChangeArrowheads="1"/>
          </p:cNvSpPr>
          <p:nvPr>
            <p:ph type="title"/>
          </p:nvPr>
        </p:nvSpPr>
        <p:spPr>
          <a:xfrm>
            <a:off x="914400" y="228600"/>
            <a:ext cx="7239000" cy="914400"/>
          </a:xfrm>
          <a:solidFill>
            <a:srgbClr val="FF6600"/>
          </a:solidFill>
        </p:spPr>
        <p:txBody>
          <a:bodyPr/>
          <a:lstStyle/>
          <a:p>
            <a:pPr eaLnBrk="1" hangingPunct="1">
              <a:defRPr/>
            </a:pPr>
            <a:r>
              <a:rPr lang="en-US" sz="36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INTER-PERSONAL SKILL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914400" y="1524000"/>
            <a:ext cx="7239000" cy="434340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pPr marL="0" indent="0" eaLnBrk="1" hangingPunct="1">
              <a:lnSpc>
                <a:spcPct val="90000"/>
              </a:lnSpc>
              <a:buFontTx/>
              <a:buNone/>
              <a:defRPr/>
            </a:pPr>
            <a:r>
              <a:rPr lang="en-US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Keterampilan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dalam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berhubungan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dengan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orang lain</a:t>
            </a:r>
            <a:r>
              <a:rPr lang="id-ID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.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  <a:p>
            <a:pPr marL="0" indent="0" eaLnBrk="1" hangingPunct="1">
              <a:lnSpc>
                <a:spcPct val="90000"/>
              </a:lnSpc>
              <a:buFontTx/>
              <a:buNone/>
              <a:defRPr/>
            </a:pPr>
            <a:r>
              <a:rPr lang="id-ID" sz="2400" b="1" dirty="0" smtClean="0">
                <a:solidFill>
                  <a:srgbClr val="80008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Contoh: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b="1" dirty="0" smtClean="0">
                <a:solidFill>
                  <a:srgbClr val="80008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Motivation skill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b="1" dirty="0" smtClean="0">
                <a:solidFill>
                  <a:srgbClr val="80008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Leadership skill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b="1" dirty="0" smtClean="0">
                <a:solidFill>
                  <a:srgbClr val="80008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Negotiation skill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b="1" dirty="0" smtClean="0">
                <a:solidFill>
                  <a:srgbClr val="80008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Presentation skill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b="1" dirty="0" smtClean="0">
                <a:solidFill>
                  <a:srgbClr val="80008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Communication skill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b="1" dirty="0" smtClean="0">
                <a:solidFill>
                  <a:srgbClr val="80008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Relationship building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b="1" dirty="0" smtClean="0">
                <a:solidFill>
                  <a:srgbClr val="80008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Public speaking skill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b="1" dirty="0" smtClean="0">
                <a:solidFill>
                  <a:srgbClr val="80008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Self-marketing skills</a:t>
            </a:r>
          </a:p>
        </p:txBody>
      </p:sp>
    </p:spTree>
    <p:extLst>
      <p:ext uri="{BB962C8B-B14F-4D97-AF65-F5344CB8AC3E}">
        <p14:creationId xmlns:p14="http://schemas.microsoft.com/office/powerpoint/2010/main" xmlns="" val="608891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1000"/>
                                        <p:tgtEl>
                                          <p:spTgt spid="389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1000"/>
                                        <p:tgtEl>
                                          <p:spTgt spid="389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1000"/>
                                        <p:tgtEl>
                                          <p:spTgt spid="389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9" dur="1000"/>
                                        <p:tgtEl>
                                          <p:spTgt spid="389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3" dur="1000"/>
                                        <p:tgtEl>
                                          <p:spTgt spid="389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7" dur="1000"/>
                                        <p:tgtEl>
                                          <p:spTgt spid="389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1" dur="1000"/>
                                        <p:tgtEl>
                                          <p:spTgt spid="389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3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5" dur="1000"/>
                                        <p:tgtEl>
                                          <p:spTgt spid="389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37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9" dur="1000"/>
                                        <p:tgtEl>
                                          <p:spTgt spid="389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4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3" dur="1000"/>
                                        <p:tgtEl>
                                          <p:spTgt spid="389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7" dur="1000"/>
                                        <p:tgtEl>
                                          <p:spTgt spid="389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9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4" name="AutoShape 6"/>
          <p:cNvSpPr>
            <a:spLocks noChangeArrowheads="1"/>
          </p:cNvSpPr>
          <p:nvPr/>
        </p:nvSpPr>
        <p:spPr bwMode="auto">
          <a:xfrm rot="10800000">
            <a:off x="504825" y="1524000"/>
            <a:ext cx="8153400" cy="5105400"/>
          </a:xfrm>
          <a:custGeom>
            <a:avLst/>
            <a:gdLst>
              <a:gd name="T0" fmla="*/ 2147483647 w 21600"/>
              <a:gd name="T1" fmla="*/ 603359008 h 21600"/>
              <a:gd name="T2" fmla="*/ 1538841008 w 21600"/>
              <a:gd name="T3" fmla="*/ 1206718017 h 21600"/>
              <a:gd name="T4" fmla="*/ 153456802 w 21600"/>
              <a:gd name="T5" fmla="*/ 603359008 h 21600"/>
              <a:gd name="T6" fmla="*/ 1538841008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77 w 21600"/>
              <a:gd name="T13" fmla="*/ 2877 h 21600"/>
              <a:gd name="T14" fmla="*/ 18723 w 21600"/>
              <a:gd name="T15" fmla="*/ 18723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3" y="21600"/>
                </a:lnTo>
                <a:lnTo>
                  <a:pt x="19447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4E2D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d-ID"/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1311275" y="304800"/>
            <a:ext cx="6537325" cy="1143000"/>
          </a:xfrm>
          <a:solidFill>
            <a:srgbClr val="875FC1"/>
          </a:solidFill>
        </p:spPr>
        <p:txBody>
          <a:bodyPr/>
          <a:lstStyle/>
          <a:p>
            <a:pPr eaLnBrk="1" hangingPunct="1">
              <a:defRPr/>
            </a:pPr>
            <a:r>
              <a:rPr lang="en-US" sz="3600" b="1" smtClean="0">
                <a:solidFill>
                  <a:srgbClr val="F4E2D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INTRA-PERSONAL SKILL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71600" y="1524000"/>
            <a:ext cx="6886575" cy="4724400"/>
          </a:xfrm>
        </p:spPr>
        <p:txBody>
          <a:bodyPr/>
          <a:lstStyle/>
          <a:p>
            <a:pPr marL="0" indent="0" defTabSz="342900" eaLnBrk="1" hangingPunct="1">
              <a:buFontTx/>
              <a:buNone/>
              <a:defRPr/>
            </a:pP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Keterampilan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mengatur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diri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sendiri</a:t>
            </a:r>
            <a:r>
              <a:rPr lang="id-ID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;</a:t>
            </a:r>
            <a:endParaRPr lang="en-US" sz="2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  <a:p>
            <a:pPr defTabSz="342900" eaLnBrk="1" hangingPunct="1">
              <a:defRPr/>
            </a:pPr>
            <a:r>
              <a:rPr lang="en-US" sz="2800" b="1" dirty="0" smtClean="0">
                <a:solidFill>
                  <a:srgbClr val="A700E2"/>
                </a:solidFill>
                <a:latin typeface="Calibri" pitchFamily="34" charset="0"/>
                <a:cs typeface="Calibri" pitchFamily="34" charset="0"/>
              </a:rPr>
              <a:t>Time management</a:t>
            </a:r>
          </a:p>
          <a:p>
            <a:pPr defTabSz="342900" eaLnBrk="1" hangingPunct="1">
              <a:defRPr/>
            </a:pPr>
            <a:r>
              <a:rPr lang="en-US" sz="2800" b="1" dirty="0" smtClean="0">
                <a:solidFill>
                  <a:srgbClr val="600082"/>
                </a:solidFill>
                <a:latin typeface="Calibri" pitchFamily="34" charset="0"/>
                <a:cs typeface="Calibri" pitchFamily="34" charset="0"/>
              </a:rPr>
              <a:t>Stress management</a:t>
            </a:r>
          </a:p>
          <a:p>
            <a:pPr defTabSz="342900" eaLnBrk="1" hangingPunct="1">
              <a:defRPr/>
            </a:pPr>
            <a:r>
              <a:rPr lang="en-US" sz="2800" b="1" dirty="0" smtClean="0">
                <a:solidFill>
                  <a:srgbClr val="A700E2"/>
                </a:solidFill>
                <a:latin typeface="Calibri" pitchFamily="34" charset="0"/>
                <a:cs typeface="Calibri" pitchFamily="34" charset="0"/>
              </a:rPr>
              <a:t>Change management</a:t>
            </a:r>
          </a:p>
          <a:p>
            <a:pPr defTabSz="342900" eaLnBrk="1" hangingPunct="1">
              <a:defRPr/>
            </a:pPr>
            <a:r>
              <a:rPr lang="en-US" sz="2800" b="1" dirty="0" smtClean="0">
                <a:solidFill>
                  <a:srgbClr val="600082"/>
                </a:solidFill>
                <a:latin typeface="Calibri" pitchFamily="34" charset="0"/>
                <a:cs typeface="Calibri" pitchFamily="34" charset="0"/>
              </a:rPr>
              <a:t>Transforming beliefs</a:t>
            </a:r>
          </a:p>
          <a:p>
            <a:pPr defTabSz="342900" eaLnBrk="1" hangingPunct="1">
              <a:defRPr/>
            </a:pPr>
            <a:r>
              <a:rPr lang="en-US" sz="2800" b="1" dirty="0" smtClean="0">
                <a:solidFill>
                  <a:srgbClr val="A700E2"/>
                </a:solidFill>
                <a:latin typeface="Calibri" pitchFamily="34" charset="0"/>
                <a:cs typeface="Calibri" pitchFamily="34" charset="0"/>
              </a:rPr>
              <a:t>Transforming character</a:t>
            </a:r>
          </a:p>
          <a:p>
            <a:pPr defTabSz="342900" eaLnBrk="1" hangingPunct="1">
              <a:defRPr/>
            </a:pPr>
            <a:r>
              <a:rPr lang="en-US" sz="2800" b="1" dirty="0" smtClean="0">
                <a:solidFill>
                  <a:srgbClr val="600082"/>
                </a:solidFill>
                <a:latin typeface="Calibri" pitchFamily="34" charset="0"/>
                <a:cs typeface="Calibri" pitchFamily="34" charset="0"/>
              </a:rPr>
              <a:t>Creative thinking processes</a:t>
            </a:r>
          </a:p>
          <a:p>
            <a:pPr defTabSz="342900" eaLnBrk="1" hangingPunct="1">
              <a:defRPr/>
            </a:pPr>
            <a:r>
              <a:rPr lang="en-US" sz="2800" b="1" dirty="0" smtClean="0">
                <a:solidFill>
                  <a:srgbClr val="A700E2"/>
                </a:solidFill>
                <a:latin typeface="Calibri" pitchFamily="34" charset="0"/>
                <a:cs typeface="Calibri" pitchFamily="34" charset="0"/>
              </a:rPr>
              <a:t>Goal setting and life purpose</a:t>
            </a:r>
          </a:p>
          <a:p>
            <a:pPr defTabSz="342900" eaLnBrk="1" hangingPunct="1">
              <a:defRPr/>
            </a:pPr>
            <a:r>
              <a:rPr lang="en-US" sz="2800" b="1" dirty="0" smtClean="0">
                <a:solidFill>
                  <a:srgbClr val="600082"/>
                </a:solidFill>
                <a:latin typeface="Calibri" pitchFamily="34" charset="0"/>
                <a:cs typeface="Calibri" pitchFamily="34" charset="0"/>
              </a:rPr>
              <a:t>Accelerated learning </a:t>
            </a:r>
            <a:r>
              <a:rPr lang="en-US" sz="2800" b="1" dirty="0" err="1" smtClean="0">
                <a:solidFill>
                  <a:srgbClr val="600082"/>
                </a:solidFill>
                <a:latin typeface="Calibri" pitchFamily="34" charset="0"/>
                <a:cs typeface="Calibri" pitchFamily="34" charset="0"/>
              </a:rPr>
              <a:t>technicques</a:t>
            </a:r>
            <a:endParaRPr lang="en-US" sz="2800" b="1" dirty="0" smtClean="0">
              <a:solidFill>
                <a:srgbClr val="600082"/>
              </a:solidFill>
              <a:latin typeface="Calibri" pitchFamily="34" charset="0"/>
              <a:cs typeface="Calibri" pitchFamily="34" charset="0"/>
            </a:endParaRPr>
          </a:p>
          <a:p>
            <a:pPr defTabSz="342900" eaLnBrk="1" hangingPunct="1">
              <a:defRPr/>
            </a:pPr>
            <a:endParaRPr lang="en-US" sz="2800" b="1" dirty="0" smtClean="0">
              <a:solidFill>
                <a:srgbClr val="9900CC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2841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10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2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1" dur="10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1000"/>
                                        <p:tgtEl>
                                          <p:spTgt spid="71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17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9" dur="1000"/>
                                        <p:tgtEl>
                                          <p:spTgt spid="71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21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3" dur="1000"/>
                                        <p:tgtEl>
                                          <p:spTgt spid="717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25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7" dur="1000"/>
                                        <p:tgtEl>
                                          <p:spTgt spid="717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11000"/>
                            </p:stCondLst>
                            <p:childTnLst>
                              <p:par>
                                <p:cTn id="29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1" dur="1000"/>
                                        <p:tgtEl>
                                          <p:spTgt spid="7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3000"/>
                            </p:stCondLst>
                            <p:childTnLst>
                              <p:par>
                                <p:cTn id="33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5" dur="1000"/>
                                        <p:tgtEl>
                                          <p:spTgt spid="7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15000"/>
                            </p:stCondLst>
                            <p:childTnLst>
                              <p:par>
                                <p:cTn id="37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9" dur="1000"/>
                                        <p:tgtEl>
                                          <p:spTgt spid="71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17000"/>
                            </p:stCondLst>
                            <p:childTnLst>
                              <p:par>
                                <p:cTn id="41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3" dur="1000"/>
                                        <p:tgtEl>
                                          <p:spTgt spid="717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19000"/>
                            </p:stCondLst>
                            <p:childTnLst>
                              <p:par>
                                <p:cTn id="45" presetID="18" presetClass="entr" presetSubtype="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7" dur="1000"/>
                                        <p:tgtEl>
                                          <p:spTgt spid="717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4" grpId="0" animBg="1"/>
      <p:bldP spid="717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/>
          </p:nvPr>
        </p:nvGraphicFramePr>
        <p:xfrm>
          <a:off x="177172" y="980728"/>
          <a:ext cx="52589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Diagram 11"/>
          <p:cNvGraphicFramePr/>
          <p:nvPr>
            <p:extLst/>
          </p:nvPr>
        </p:nvGraphicFramePr>
        <p:xfrm>
          <a:off x="5292080" y="1268760"/>
          <a:ext cx="3851920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8" name="Notched Right Arrow 7"/>
          <p:cNvSpPr/>
          <p:nvPr/>
        </p:nvSpPr>
        <p:spPr>
          <a:xfrm>
            <a:off x="3851920" y="1340768"/>
            <a:ext cx="1728192" cy="432048"/>
          </a:xfrm>
          <a:prstGeom prst="notchedRightArrow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</a:endParaRP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sz="2400" b="1" dirty="0" smtClean="0">
                <a:solidFill>
                  <a:srgbClr val="FFFF66"/>
                </a:solidFill>
                <a:latin typeface="Arial Unicode MS" pitchFamily="34" charset="-128"/>
              </a:rPr>
              <a:t>STUDENTS MOBILITY PROGRAM</a:t>
            </a:r>
            <a:endParaRPr lang="en-US" sz="2400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3881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2" name="Group 23"/>
          <p:cNvGrpSpPr>
            <a:grpSpLocks/>
          </p:cNvGrpSpPr>
          <p:nvPr/>
        </p:nvGrpSpPr>
        <p:grpSpPr bwMode="auto">
          <a:xfrm>
            <a:off x="531936" y="970085"/>
            <a:ext cx="8180932" cy="4907187"/>
            <a:chOff x="531936" y="980728"/>
            <a:chExt cx="8180883" cy="3672408"/>
          </a:xfrm>
        </p:grpSpPr>
        <p:sp>
          <p:nvSpPr>
            <p:cNvPr id="2066" name="TextBox 15"/>
            <p:cNvSpPr txBox="1">
              <a:spLocks noChangeArrowheads="1"/>
            </p:cNvSpPr>
            <p:nvPr/>
          </p:nvSpPr>
          <p:spPr bwMode="auto">
            <a:xfrm>
              <a:off x="6863862" y="980728"/>
              <a:ext cx="1848957" cy="3154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1292">
                  <a:solidFill>
                    <a:srgbClr val="C00000"/>
                  </a:solidFill>
                </a:rPr>
                <a:t>100  tahun kemerdekaan</a:t>
              </a:r>
            </a:p>
          </p:txBody>
        </p:sp>
        <p:pic>
          <p:nvPicPr>
            <p:cNvPr id="2067" name="Picture 2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936" y="1273349"/>
              <a:ext cx="7961434" cy="33797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20" name="Rectangle 1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50398" y="993430"/>
              <a:ext cx="1626567" cy="3134169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49804"/>
              </a:schemeClr>
            </a:solidFill>
            <a:ln>
              <a:solidFill>
                <a:schemeClr val="tx1"/>
              </a:solidFill>
            </a:ln>
            <a:extLst/>
          </p:spPr>
          <p:txBody>
            <a:bodyPr anchor="ctr"/>
            <a:lstStyle/>
            <a:p>
              <a:pPr algn="ctr">
                <a:defRPr/>
              </a:pPr>
              <a:endParaRPr lang="id-ID" sz="1662">
                <a:solidFill>
                  <a:srgbClr val="FFFFFF"/>
                </a:solidFill>
              </a:endParaRPr>
            </a:p>
          </p:txBody>
        </p:sp>
        <p:sp>
          <p:nvSpPr>
            <p:cNvPr id="2069" name="Rectangle 2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22177" y="1033437"/>
              <a:ext cx="2176097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en-US" sz="1292" b="1">
                  <a:solidFill>
                    <a:srgbClr val="000000"/>
                  </a:solidFill>
                </a:rPr>
                <a:t>"Bonus Demografi"</a:t>
              </a:r>
            </a:p>
          </p:txBody>
        </p:sp>
        <p:cxnSp>
          <p:nvCxnSpPr>
            <p:cNvPr id="17" name="Straight Connector 16"/>
            <p:cNvCxnSpPr/>
            <p:nvPr/>
          </p:nvCxnSpPr>
          <p:spPr>
            <a:xfrm rot="5400000">
              <a:off x="5423142" y="2501035"/>
              <a:ext cx="2953168" cy="1466"/>
            </a:xfrm>
            <a:prstGeom prst="line">
              <a:avLst/>
            </a:prstGeom>
            <a:ln w="2857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b="1" dirty="0" smtClean="0">
                <a:solidFill>
                  <a:srgbClr val="FFFF66"/>
                </a:solidFill>
                <a:latin typeface="Arial Unicode MS" pitchFamily="34" charset="-128"/>
              </a:rPr>
              <a:t>BONUS DEMOGRAFI BANGSA INDONESIA SAMPAI DENGAN 2045</a:t>
            </a:r>
            <a:endParaRPr lang="en-US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76056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12477" y="2487618"/>
            <a:ext cx="5996354" cy="4046537"/>
          </a:xfrm>
          <a:prstGeom prst="rect">
            <a:avLst/>
          </a:prstGeom>
          <a:noFill/>
          <a:ln w="38100" cap="sq">
            <a:noFill/>
            <a:miter lim="800000"/>
            <a:headEnd/>
            <a:tailEnd/>
          </a:ln>
        </p:spPr>
      </p:pic>
      <p:sp>
        <p:nvSpPr>
          <p:cNvPr id="6" name="Rectangular Callout 5"/>
          <p:cNvSpPr/>
          <p:nvPr/>
        </p:nvSpPr>
        <p:spPr>
          <a:xfrm>
            <a:off x="3203331" y="1196975"/>
            <a:ext cx="3385038" cy="1152525"/>
          </a:xfrm>
          <a:prstGeom prst="wedgeRectCallout">
            <a:avLst>
              <a:gd name="adj1" fmla="val 23122"/>
              <a:gd name="adj2" fmla="val 93915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id-ID" sz="1600" b="1" dirty="0">
                <a:solidFill>
                  <a:prstClr val="black"/>
                </a:solidFill>
              </a:rPr>
              <a:t>Pembelajaran dan Inovasi</a:t>
            </a:r>
          </a:p>
          <a:p>
            <a:pPr>
              <a:defRPr/>
            </a:pPr>
            <a:r>
              <a:rPr lang="en-US" sz="1600" dirty="0">
                <a:solidFill>
                  <a:prstClr val="black"/>
                </a:solidFill>
              </a:rPr>
              <a:t>• </a:t>
            </a:r>
            <a:r>
              <a:rPr lang="id-ID" sz="1600" dirty="0">
                <a:solidFill>
                  <a:prstClr val="black"/>
                </a:solidFill>
              </a:rPr>
              <a:t>Kreatif dan inovasi</a:t>
            </a:r>
            <a:endParaRPr lang="en-US" sz="16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id-ID" sz="1600" dirty="0">
                <a:solidFill>
                  <a:prstClr val="black"/>
                </a:solidFill>
              </a:rPr>
              <a:t>• Berfikir kritis menyelesaikan masalah</a:t>
            </a:r>
          </a:p>
          <a:p>
            <a:pPr>
              <a:defRPr/>
            </a:pPr>
            <a:r>
              <a:rPr lang="id-ID" sz="1600" dirty="0">
                <a:solidFill>
                  <a:prstClr val="black"/>
                </a:solidFill>
              </a:rPr>
              <a:t>• Komunikasi dan kolaborasi</a:t>
            </a:r>
          </a:p>
        </p:txBody>
      </p:sp>
      <p:sp>
        <p:nvSpPr>
          <p:cNvPr id="7" name="Rectangular Callout 6"/>
          <p:cNvSpPr/>
          <p:nvPr/>
        </p:nvSpPr>
        <p:spPr>
          <a:xfrm>
            <a:off x="6731977" y="1201738"/>
            <a:ext cx="2376854" cy="1223962"/>
          </a:xfrm>
          <a:prstGeom prst="wedgeRectCallout">
            <a:avLst>
              <a:gd name="adj1" fmla="val 3555"/>
              <a:gd name="adj2" fmla="val 165909"/>
            </a:avLst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id-ID" sz="1600" b="1" dirty="0">
                <a:solidFill>
                  <a:prstClr val="white"/>
                </a:solidFill>
              </a:rPr>
              <a:t>Informasi, Media and Teknologi</a:t>
            </a:r>
          </a:p>
          <a:p>
            <a:pPr>
              <a:defRPr/>
            </a:pPr>
            <a:r>
              <a:rPr lang="id-ID" sz="1600" dirty="0">
                <a:solidFill>
                  <a:prstClr val="white"/>
                </a:solidFill>
              </a:rPr>
              <a:t>• Melek informasi</a:t>
            </a:r>
          </a:p>
          <a:p>
            <a:pPr>
              <a:defRPr/>
            </a:pPr>
            <a:r>
              <a:rPr lang="id-ID" sz="1600" dirty="0">
                <a:solidFill>
                  <a:prstClr val="white"/>
                </a:solidFill>
              </a:rPr>
              <a:t>• Melek Media</a:t>
            </a:r>
          </a:p>
          <a:p>
            <a:pPr>
              <a:defRPr/>
            </a:pPr>
            <a:r>
              <a:rPr lang="id-ID" sz="1600" dirty="0">
                <a:solidFill>
                  <a:prstClr val="white"/>
                </a:solidFill>
              </a:rPr>
              <a:t>• Melek TIK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71804" y="1184275"/>
            <a:ext cx="3059723" cy="1511300"/>
          </a:xfrm>
          <a:prstGeom prst="wedgeRectCallout">
            <a:avLst>
              <a:gd name="adj1" fmla="val 90675"/>
              <a:gd name="adj2" fmla="val 130921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id-ID" sz="1600" b="1" dirty="0">
                <a:solidFill>
                  <a:prstClr val="white"/>
                </a:solidFill>
              </a:rPr>
              <a:t>Kehidupan dan Karir</a:t>
            </a:r>
          </a:p>
          <a:p>
            <a:pPr>
              <a:defRPr/>
            </a:pPr>
            <a:r>
              <a:rPr lang="id-ID" sz="1600" dirty="0">
                <a:solidFill>
                  <a:prstClr val="white"/>
                </a:solidFill>
              </a:rPr>
              <a:t>• Fleksibel dan adaptif</a:t>
            </a:r>
          </a:p>
          <a:p>
            <a:pPr>
              <a:defRPr/>
            </a:pPr>
            <a:r>
              <a:rPr lang="id-ID" sz="1600" dirty="0">
                <a:solidFill>
                  <a:prstClr val="white"/>
                </a:solidFill>
              </a:rPr>
              <a:t>• Berinisiatif dan mandiri</a:t>
            </a:r>
          </a:p>
          <a:p>
            <a:pPr>
              <a:defRPr/>
            </a:pPr>
            <a:r>
              <a:rPr lang="en-US" sz="1600" dirty="0">
                <a:solidFill>
                  <a:prstClr val="white"/>
                </a:solidFill>
              </a:rPr>
              <a:t>• K</a:t>
            </a:r>
            <a:r>
              <a:rPr lang="id-ID" sz="1600" dirty="0">
                <a:solidFill>
                  <a:prstClr val="white"/>
                </a:solidFill>
              </a:rPr>
              <a:t>eterampilan sosial dan budaya</a:t>
            </a:r>
            <a:endParaRPr lang="en-US" sz="1600" dirty="0">
              <a:solidFill>
                <a:prstClr val="white"/>
              </a:solidFill>
            </a:endParaRPr>
          </a:p>
          <a:p>
            <a:pPr>
              <a:defRPr/>
            </a:pPr>
            <a:r>
              <a:rPr lang="id-ID" sz="1600" dirty="0">
                <a:solidFill>
                  <a:prstClr val="white"/>
                </a:solidFill>
              </a:rPr>
              <a:t>• Produktif dan akuntabel</a:t>
            </a:r>
          </a:p>
          <a:p>
            <a:pPr>
              <a:defRPr/>
            </a:pPr>
            <a:r>
              <a:rPr lang="id-ID" sz="1600" dirty="0">
                <a:solidFill>
                  <a:prstClr val="white"/>
                </a:solidFill>
              </a:rPr>
              <a:t>• Kepemimpinan&amp;tanggung jawab</a:t>
            </a:r>
          </a:p>
        </p:txBody>
      </p:sp>
      <p:sp>
        <p:nvSpPr>
          <p:cNvPr id="74758" name="TextBox 8"/>
          <p:cNvSpPr txBox="1">
            <a:spLocks noChangeArrowheads="1"/>
          </p:cNvSpPr>
          <p:nvPr/>
        </p:nvSpPr>
        <p:spPr bwMode="auto">
          <a:xfrm>
            <a:off x="0" y="676275"/>
            <a:ext cx="91440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d-ID">
                <a:solidFill>
                  <a:prstClr val="black"/>
                </a:solidFill>
              </a:rPr>
              <a:t>Sumber: 21st Century Skills, Education, Competitiveness. Partnership for 21st Century, 2008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0339" y="3390903"/>
            <a:ext cx="3132992" cy="33512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dirty="0">
                <a:solidFill>
                  <a:srgbClr val="0070C0"/>
                </a:solidFill>
              </a:rPr>
              <a:t>Kerangka ini menunjukkan bahwa proses pembelajaran tidak cukup hanya untuk meningkatkan  </a:t>
            </a:r>
            <a:r>
              <a:rPr lang="id-ID" b="1" dirty="0">
                <a:solidFill>
                  <a:srgbClr val="C00000"/>
                </a:solidFill>
              </a:rPr>
              <a:t>pengetahuan</a:t>
            </a:r>
            <a:r>
              <a:rPr lang="id-ID" dirty="0">
                <a:solidFill>
                  <a:srgbClr val="0070C0"/>
                </a:solidFill>
              </a:rPr>
              <a:t> [melalui </a:t>
            </a:r>
            <a:r>
              <a:rPr lang="id-ID" i="1" dirty="0">
                <a:solidFill>
                  <a:srgbClr val="0070C0"/>
                </a:solidFill>
              </a:rPr>
              <a:t>core subjects</a:t>
            </a:r>
            <a:r>
              <a:rPr lang="id-ID" dirty="0">
                <a:solidFill>
                  <a:srgbClr val="0070C0"/>
                </a:solidFill>
              </a:rPr>
              <a:t>] saja, harus dilengkapi:</a:t>
            </a:r>
          </a:p>
          <a:p>
            <a:pPr algn="ctr">
              <a:buFontTx/>
              <a:buChar char="-"/>
              <a:defRPr/>
            </a:pPr>
            <a:r>
              <a:rPr lang="id-ID" b="1" dirty="0">
                <a:solidFill>
                  <a:srgbClr val="C00000"/>
                </a:solidFill>
              </a:rPr>
              <a:t>Berkemampuan kreatif</a:t>
            </a:r>
            <a:r>
              <a:rPr lang="id-ID" dirty="0">
                <a:solidFill>
                  <a:srgbClr val="0070C0"/>
                </a:solidFill>
              </a:rPr>
              <a:t> - kritis</a:t>
            </a:r>
          </a:p>
          <a:p>
            <a:pPr algn="ctr">
              <a:buFontTx/>
              <a:buChar char="-"/>
              <a:defRPr/>
            </a:pPr>
            <a:r>
              <a:rPr lang="id-ID" b="1" dirty="0">
                <a:solidFill>
                  <a:srgbClr val="C00000"/>
                </a:solidFill>
              </a:rPr>
              <a:t>Berkarakter</a:t>
            </a:r>
            <a:r>
              <a:rPr lang="id-ID" b="1" dirty="0">
                <a:solidFill>
                  <a:srgbClr val="0070C0"/>
                </a:solidFill>
              </a:rPr>
              <a:t> </a:t>
            </a:r>
            <a:r>
              <a:rPr lang="id-ID" dirty="0">
                <a:solidFill>
                  <a:srgbClr val="0070C0"/>
                </a:solidFill>
              </a:rPr>
              <a:t>kuat [bertanggung jawab, sosial, toleran, produktif, adaptif,...]</a:t>
            </a:r>
          </a:p>
          <a:p>
            <a:pPr algn="ctr">
              <a:defRPr/>
            </a:pPr>
            <a:r>
              <a:rPr lang="id-ID" dirty="0">
                <a:solidFill>
                  <a:srgbClr val="0070C0"/>
                </a:solidFill>
              </a:rPr>
              <a:t>Disamping itu didukung dengan kemampuan </a:t>
            </a:r>
            <a:r>
              <a:rPr lang="id-ID" b="1" dirty="0">
                <a:solidFill>
                  <a:srgbClr val="FF0000"/>
                </a:solidFill>
              </a:rPr>
              <a:t>memanfaatkan informasi dan berkomunikasi</a:t>
            </a:r>
          </a:p>
        </p:txBody>
      </p:sp>
      <p:sp>
        <p:nvSpPr>
          <p:cNvPr id="74762" name="TextBox 9"/>
          <p:cNvSpPr txBox="1">
            <a:spLocks noChangeArrowheads="1"/>
          </p:cNvSpPr>
          <p:nvPr/>
        </p:nvSpPr>
        <p:spPr bwMode="auto">
          <a:xfrm>
            <a:off x="3203333" y="6453189"/>
            <a:ext cx="549368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d-ID">
                <a:solidFill>
                  <a:prstClr val="black"/>
                </a:solidFill>
              </a:rPr>
              <a:t>Partnership: Perusahaan, Asosiasi Pendidikan, Yayasan,...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b="1" dirty="0" smtClean="0">
                <a:solidFill>
                  <a:srgbClr val="FFFF66"/>
                </a:solidFill>
                <a:latin typeface="Arial Unicode MS" pitchFamily="34" charset="-128"/>
              </a:rPr>
              <a:t>KERANGKA KOMPETENSI ABAD 21</a:t>
            </a:r>
            <a:endParaRPr lang="en-US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90374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6228184" y="1231007"/>
            <a:ext cx="2725226" cy="50783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000" dirty="0" smtClean="0">
                <a:solidFill>
                  <a:prstClr val="black"/>
                </a:solidFill>
                <a:latin typeface="Berlin Sans FB" pitchFamily="34" charset="0"/>
              </a:rPr>
              <a:t>Kurikulum yang dapat menghasilkan insan indonesia yang:</a:t>
            </a:r>
          </a:p>
          <a:p>
            <a:pPr algn="ctr"/>
            <a:r>
              <a:rPr lang="id-ID" sz="2800" b="1" dirty="0">
                <a:solidFill>
                  <a:srgbClr val="C00000"/>
                </a:solidFill>
                <a:latin typeface="Berlin Sans FB" pitchFamily="34" charset="0"/>
              </a:rPr>
              <a:t>P</a:t>
            </a:r>
            <a:r>
              <a:rPr lang="id-ID" sz="2800" b="1" dirty="0" smtClean="0">
                <a:solidFill>
                  <a:srgbClr val="C00000"/>
                </a:solidFill>
                <a:latin typeface="Berlin Sans FB" pitchFamily="34" charset="0"/>
              </a:rPr>
              <a:t>roduktif, Kreatif, </a:t>
            </a:r>
          </a:p>
          <a:p>
            <a:pPr algn="ctr"/>
            <a:r>
              <a:rPr lang="id-ID" sz="2800" b="1" dirty="0" smtClean="0">
                <a:solidFill>
                  <a:srgbClr val="C00000"/>
                </a:solidFill>
                <a:latin typeface="Berlin Sans FB" pitchFamily="34" charset="0"/>
              </a:rPr>
              <a:t>Inovatif, </a:t>
            </a:r>
          </a:p>
          <a:p>
            <a:pPr algn="ctr"/>
            <a:r>
              <a:rPr lang="id-ID" sz="2800" b="1" dirty="0" smtClean="0">
                <a:solidFill>
                  <a:srgbClr val="C00000"/>
                </a:solidFill>
                <a:latin typeface="Berlin Sans FB" pitchFamily="34" charset="0"/>
              </a:rPr>
              <a:t>Afektif </a:t>
            </a:r>
          </a:p>
          <a:p>
            <a:pPr algn="ctr"/>
            <a:r>
              <a:rPr lang="id-ID" sz="2000" dirty="0" smtClean="0">
                <a:solidFill>
                  <a:prstClr val="black"/>
                </a:solidFill>
                <a:latin typeface="Berlin Sans FB" pitchFamily="34" charset="0"/>
              </a:rPr>
              <a:t>melalui penguatan </a:t>
            </a:r>
          </a:p>
          <a:p>
            <a:pPr algn="ctr"/>
            <a:r>
              <a:rPr lang="id-ID" sz="2800" b="1" dirty="0">
                <a:solidFill>
                  <a:srgbClr val="0070C0"/>
                </a:solidFill>
                <a:latin typeface="Berlin Sans FB" pitchFamily="34" charset="0"/>
              </a:rPr>
              <a:t>S</a:t>
            </a:r>
            <a:r>
              <a:rPr lang="id-ID" sz="2800" b="1" dirty="0" smtClean="0">
                <a:solidFill>
                  <a:srgbClr val="0070C0"/>
                </a:solidFill>
                <a:latin typeface="Berlin Sans FB" pitchFamily="34" charset="0"/>
              </a:rPr>
              <a:t>ikap, Pengetahuan, dan </a:t>
            </a:r>
            <a:r>
              <a:rPr lang="id-ID" sz="2800" b="1" dirty="0">
                <a:solidFill>
                  <a:srgbClr val="0070C0"/>
                </a:solidFill>
                <a:latin typeface="Berlin Sans FB" pitchFamily="34" charset="0"/>
              </a:rPr>
              <a:t>Keterampilan</a:t>
            </a:r>
            <a:r>
              <a:rPr lang="id-ID" sz="2400" dirty="0" smtClean="0">
                <a:solidFill>
                  <a:prstClr val="black"/>
                </a:solidFill>
                <a:latin typeface="Berlin Sans FB" pitchFamily="34" charset="0"/>
              </a:rPr>
              <a:t> </a:t>
            </a:r>
          </a:p>
          <a:p>
            <a:pPr algn="ctr"/>
            <a:r>
              <a:rPr lang="id-ID" sz="2000" dirty="0" smtClean="0">
                <a:solidFill>
                  <a:prstClr val="black"/>
                </a:solidFill>
                <a:latin typeface="Berlin Sans FB" pitchFamily="34" charset="0"/>
              </a:rPr>
              <a:t>yang terintegrasi</a:t>
            </a:r>
            <a:endParaRPr lang="id-ID" sz="2000" dirty="0">
              <a:solidFill>
                <a:prstClr val="black"/>
              </a:solidFill>
              <a:latin typeface="Berlin Sans FB" pitchFamily="34" charset="0"/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0154" y="1340768"/>
            <a:ext cx="4345379" cy="36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Donut 9"/>
          <p:cNvSpPr/>
          <p:nvPr/>
        </p:nvSpPr>
        <p:spPr>
          <a:xfrm>
            <a:off x="108078" y="700110"/>
            <a:ext cx="5943600" cy="5943600"/>
          </a:xfrm>
          <a:prstGeom prst="donut">
            <a:avLst>
              <a:gd name="adj" fmla="val 10887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  <a:latin typeface="Berlin Sans FB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-546107" y="0"/>
            <a:ext cx="7315200" cy="7315200"/>
          </a:xfrm>
          <a:prstGeom prst="ellipse">
            <a:avLst/>
          </a:prstGeom>
          <a:noFill/>
        </p:spPr>
        <p:txBody>
          <a:bodyPr wrap="none" lIns="91440" tIns="45720" rIns="91440" bIns="45720">
            <a:prstTxWarp prst="textCircle">
              <a:avLst/>
            </a:prstTxWarp>
            <a:spAutoFit/>
          </a:bodyPr>
          <a:lstStyle/>
          <a:p>
            <a:pPr algn="ctr"/>
            <a:r>
              <a:rPr lang="id-ID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*Kurikulum: Kompetensi Lulusan</a:t>
            </a:r>
            <a:r>
              <a:rPr lang="en-US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, </a:t>
            </a:r>
            <a:r>
              <a:rPr lang="id-ID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Isi, Struktur</a:t>
            </a:r>
            <a:r>
              <a:rPr lang="en-US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, </a:t>
            </a:r>
            <a:r>
              <a:rPr lang="id-ID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Proses Pembelajaran,</a:t>
            </a:r>
            <a:r>
              <a:rPr lang="en-US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 </a:t>
            </a:r>
            <a:r>
              <a:rPr lang="id-ID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Proses P</a:t>
            </a:r>
            <a:r>
              <a:rPr lang="en-US" sz="3200" dirty="0" err="1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enilaian</a:t>
            </a:r>
            <a:r>
              <a:rPr lang="en-US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, </a:t>
            </a:r>
            <a:r>
              <a:rPr lang="id-ID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S</a:t>
            </a:r>
            <a:r>
              <a:rPr lang="en-US" sz="3200" dirty="0" err="1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ilabus</a:t>
            </a:r>
            <a:r>
              <a:rPr lang="id-ID" sz="3200" dirty="0" smtClean="0">
                <a:solidFill>
                  <a:srgbClr val="242852">
                    <a:lumMod val="50000"/>
                  </a:srgbClr>
                </a:solidFill>
                <a:latin typeface="Berlin Sans FB" pitchFamily="34" charset="0"/>
              </a:rPr>
              <a:t>, Buku*</a:t>
            </a:r>
            <a:endParaRPr lang="en-US" sz="3200" b="1" dirty="0">
              <a:ln w="12700">
                <a:solidFill>
                  <a:srgbClr val="242852">
                    <a:satMod val="155000"/>
                  </a:srgbClr>
                </a:solidFill>
                <a:prstDash val="solid"/>
              </a:ln>
              <a:solidFill>
                <a:srgbClr val="242852">
                  <a:lumMod val="50000"/>
                </a:srgb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Berlin Sans FB" pitchFamily="34" charset="0"/>
            </a:endParaRPr>
          </a:p>
        </p:txBody>
      </p:sp>
      <p:sp>
        <p:nvSpPr>
          <p:cNvPr id="12" name="Down Arrow 11"/>
          <p:cNvSpPr/>
          <p:nvPr/>
        </p:nvSpPr>
        <p:spPr>
          <a:xfrm rot="3260233">
            <a:off x="4413370" y="2293048"/>
            <a:ext cx="301187" cy="100780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  <a:latin typeface="Berlin Sans FB" pitchFamily="34" charset="0"/>
            </a:endParaRPr>
          </a:p>
        </p:txBody>
      </p:sp>
      <p:sp>
        <p:nvSpPr>
          <p:cNvPr id="13" name="Down Arrow 12"/>
          <p:cNvSpPr/>
          <p:nvPr/>
        </p:nvSpPr>
        <p:spPr>
          <a:xfrm rot="10800000">
            <a:off x="2805787" y="4869160"/>
            <a:ext cx="301187" cy="1080120"/>
          </a:xfrm>
          <a:prstGeom prst="downArrow">
            <a:avLst>
              <a:gd name="adj1" fmla="val 56746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  <a:latin typeface="Berlin Sans FB" pitchFamily="34" charset="0"/>
            </a:endParaRPr>
          </a:p>
        </p:txBody>
      </p:sp>
      <p:sp>
        <p:nvSpPr>
          <p:cNvPr id="14" name="Down Arrow 13"/>
          <p:cNvSpPr/>
          <p:nvPr/>
        </p:nvSpPr>
        <p:spPr>
          <a:xfrm rot="18362187">
            <a:off x="1441516" y="2298618"/>
            <a:ext cx="301187" cy="10265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  <a:latin typeface="Berlin Sans FB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301723" y="3068960"/>
            <a:ext cx="1368152" cy="1368152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5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" pitchFamily="34" charset="0"/>
              </a:rPr>
              <a:t>Produktif</a:t>
            </a:r>
          </a:p>
          <a:p>
            <a:pPr algn="ctr"/>
            <a:r>
              <a:rPr lang="id-ID" sz="16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" pitchFamily="34" charset="0"/>
              </a:rPr>
              <a:t>Kreatif</a:t>
            </a:r>
          </a:p>
          <a:p>
            <a:pPr algn="ctr"/>
            <a:r>
              <a:rPr lang="id-ID" sz="16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" pitchFamily="34" charset="0"/>
              </a:rPr>
              <a:t>Inovatif</a:t>
            </a:r>
          </a:p>
          <a:p>
            <a:pPr algn="ctr"/>
            <a:r>
              <a:rPr lang="id-ID" sz="16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" pitchFamily="34" charset="0"/>
              </a:rPr>
              <a:t>Afektif</a:t>
            </a:r>
            <a:endParaRPr lang="id-ID" sz="16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" pitchFamily="34" charset="0"/>
            </a:endParaRPr>
          </a:p>
        </p:txBody>
      </p:sp>
      <p:sp>
        <p:nvSpPr>
          <p:cNvPr id="8" name="Down Arrow 7"/>
          <p:cNvSpPr/>
          <p:nvPr/>
        </p:nvSpPr>
        <p:spPr>
          <a:xfrm>
            <a:off x="2877787" y="2924944"/>
            <a:ext cx="288032" cy="288032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  <a:latin typeface="Berlin Sans FB" pitchFamily="34" charset="0"/>
            </a:endParaRPr>
          </a:p>
        </p:txBody>
      </p:sp>
      <p:sp>
        <p:nvSpPr>
          <p:cNvPr id="9" name="Down Arrow 8"/>
          <p:cNvSpPr/>
          <p:nvPr/>
        </p:nvSpPr>
        <p:spPr>
          <a:xfrm rot="7160860">
            <a:off x="3305900" y="3864435"/>
            <a:ext cx="301187" cy="294440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  <a:latin typeface="Berlin Sans FB" pitchFamily="34" charset="0"/>
            </a:endParaRPr>
          </a:p>
        </p:txBody>
      </p:sp>
      <p:sp>
        <p:nvSpPr>
          <p:cNvPr id="11" name="Down Arrow 10"/>
          <p:cNvSpPr/>
          <p:nvPr/>
        </p:nvSpPr>
        <p:spPr>
          <a:xfrm rot="14203828">
            <a:off x="2378343" y="3860470"/>
            <a:ext cx="301187" cy="294440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  <a:latin typeface="Berlin Sans FB" pitchFamily="34" charset="0"/>
            </a:endParaRPr>
          </a:p>
        </p:txBody>
      </p:sp>
      <p:sp>
        <p:nvSpPr>
          <p:cNvPr id="16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b="1" dirty="0" smtClean="0">
                <a:solidFill>
                  <a:srgbClr val="FFFF66"/>
                </a:solidFill>
                <a:latin typeface="Arial Unicode MS" pitchFamily="34" charset="-128"/>
              </a:rPr>
              <a:t>PENGEMBANGAN KURIKULUM MASA DEPAN</a:t>
            </a:r>
            <a:endParaRPr lang="en-US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6299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4"/>
          <p:cNvSpPr>
            <a:spLocks noChangeArrowheads="1"/>
          </p:cNvSpPr>
          <p:nvPr/>
        </p:nvSpPr>
        <p:spPr bwMode="auto">
          <a:xfrm>
            <a:off x="219043" y="1671654"/>
            <a:ext cx="4191000" cy="4114800"/>
          </a:xfrm>
          <a:prstGeom prst="ellipse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Line 26"/>
          <p:cNvSpPr>
            <a:spLocks noChangeShapeType="1"/>
          </p:cNvSpPr>
          <p:nvPr/>
        </p:nvSpPr>
        <p:spPr bwMode="auto">
          <a:xfrm>
            <a:off x="2214546" y="1666892"/>
            <a:ext cx="0" cy="4119562"/>
          </a:xfrm>
          <a:prstGeom prst="line">
            <a:avLst/>
          </a:prstGeom>
          <a:noFill/>
          <a:ln w="76200">
            <a:solidFill>
              <a:schemeClr val="accent6"/>
            </a:solidFill>
            <a:round/>
            <a:headEnd/>
            <a:tailEnd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Box 34"/>
          <p:cNvSpPr txBox="1">
            <a:spLocks noChangeArrowheads="1"/>
          </p:cNvSpPr>
          <p:nvPr/>
        </p:nvSpPr>
        <p:spPr bwMode="auto">
          <a:xfrm rot="18676530">
            <a:off x="532373" y="2475146"/>
            <a:ext cx="1670299" cy="981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ArchUp">
              <a:avLst>
                <a:gd name="adj" fmla="val 10996893"/>
              </a:avLst>
            </a:prstTxWarp>
            <a:spAutoFit/>
          </a:bodyPr>
          <a:lstStyle/>
          <a:p>
            <a:pPr algn="ctr" eaLnBrk="0" hangingPunct="0"/>
            <a:r>
              <a:rPr lang="en-US" sz="2400" b="1" dirty="0" smtClean="0">
                <a:solidFill>
                  <a:srgbClr val="F79646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IENCE</a:t>
            </a:r>
            <a:endParaRPr lang="en-US" sz="2400" b="1" dirty="0">
              <a:solidFill>
                <a:srgbClr val="F79646">
                  <a:lumMod val="60000"/>
                  <a:lumOff val="4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238124" y="3690942"/>
            <a:ext cx="4191000" cy="0"/>
          </a:xfrm>
          <a:prstGeom prst="line">
            <a:avLst/>
          </a:prstGeom>
          <a:noFill/>
          <a:ln w="76200">
            <a:solidFill>
              <a:schemeClr val="accent6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8" name="Text Box 34"/>
          <p:cNvSpPr txBox="1">
            <a:spLocks noChangeArrowheads="1"/>
          </p:cNvSpPr>
          <p:nvPr/>
        </p:nvSpPr>
        <p:spPr bwMode="auto">
          <a:xfrm rot="2701944">
            <a:off x="1699903" y="2369663"/>
            <a:ext cx="2293541" cy="1697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ArchUp">
              <a:avLst>
                <a:gd name="adj" fmla="val 10639890"/>
              </a:avLst>
            </a:prstTxWarp>
            <a:spAutoFit/>
          </a:bodyPr>
          <a:lstStyle/>
          <a:p>
            <a:pPr algn="ctr" eaLnBrk="0" hangingPunct="0"/>
            <a:r>
              <a:rPr lang="en-US" sz="2400" b="1" dirty="0" smtClean="0">
                <a:solidFill>
                  <a:srgbClr val="F79646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NOWLEDGE</a:t>
            </a:r>
            <a:endParaRPr lang="en-US" sz="2400" b="1" dirty="0">
              <a:solidFill>
                <a:srgbClr val="F79646">
                  <a:lumMod val="60000"/>
                  <a:lumOff val="4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Box 34"/>
          <p:cNvSpPr txBox="1">
            <a:spLocks noChangeArrowheads="1"/>
          </p:cNvSpPr>
          <p:nvPr/>
        </p:nvSpPr>
        <p:spPr bwMode="auto">
          <a:xfrm rot="8351441">
            <a:off x="1638000" y="3431393"/>
            <a:ext cx="2293541" cy="1697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ArchUp">
              <a:avLst>
                <a:gd name="adj" fmla="val 10639890"/>
              </a:avLst>
            </a:prstTxWarp>
            <a:spAutoFit/>
          </a:bodyPr>
          <a:lstStyle/>
          <a:p>
            <a:pPr algn="ctr" eaLnBrk="0" hangingPunct="0"/>
            <a:r>
              <a:rPr lang="en-US" sz="2400" b="1" dirty="0" smtClean="0">
                <a:solidFill>
                  <a:srgbClr val="F79646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NOW HOW</a:t>
            </a:r>
            <a:endParaRPr lang="en-US" sz="2400" b="1" dirty="0">
              <a:solidFill>
                <a:srgbClr val="F79646">
                  <a:lumMod val="60000"/>
                  <a:lumOff val="4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Box 34"/>
          <p:cNvSpPr txBox="1">
            <a:spLocks noChangeArrowheads="1"/>
          </p:cNvSpPr>
          <p:nvPr/>
        </p:nvSpPr>
        <p:spPr bwMode="auto">
          <a:xfrm rot="13499970">
            <a:off x="848608" y="3506661"/>
            <a:ext cx="1400919" cy="1518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ArchUp">
              <a:avLst>
                <a:gd name="adj" fmla="val 11980506"/>
              </a:avLst>
            </a:prstTxWarp>
            <a:spAutoFit/>
          </a:bodyPr>
          <a:lstStyle/>
          <a:p>
            <a:pPr algn="ctr" eaLnBrk="0" hangingPunct="0"/>
            <a:r>
              <a:rPr lang="en-US" sz="2400" b="1" dirty="0" smtClean="0">
                <a:solidFill>
                  <a:srgbClr val="F79646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KILLS</a:t>
            </a:r>
            <a:endParaRPr lang="en-US" sz="2400" b="1" dirty="0">
              <a:solidFill>
                <a:srgbClr val="F79646">
                  <a:lumMod val="60000"/>
                  <a:lumOff val="4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Oval 21"/>
          <p:cNvSpPr/>
          <p:nvPr/>
        </p:nvSpPr>
        <p:spPr>
          <a:xfrm>
            <a:off x="866743" y="2338400"/>
            <a:ext cx="2667000" cy="2666999"/>
          </a:xfrm>
          <a:prstGeom prst="ellipse">
            <a:avLst/>
          </a:prstGeom>
          <a:solidFill>
            <a:srgbClr val="FFFFFF">
              <a:alpha val="34118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ArchUp">
              <a:avLst>
                <a:gd name="adj" fmla="val 12030675"/>
              </a:avLst>
            </a:prstTxWarp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Oval 9"/>
          <p:cNvSpPr>
            <a:spLocks noChangeArrowheads="1"/>
          </p:cNvSpPr>
          <p:nvPr/>
        </p:nvSpPr>
        <p:spPr bwMode="auto">
          <a:xfrm>
            <a:off x="1381093" y="2871792"/>
            <a:ext cx="1600200" cy="1600200"/>
          </a:xfrm>
          <a:prstGeom prst="ellipse">
            <a:avLst/>
          </a:prstGeom>
          <a:gradFill flip="none" rotWithShape="1">
            <a:gsLst>
              <a:gs pos="0">
                <a:srgbClr val="D6B19C"/>
              </a:gs>
              <a:gs pos="30000">
                <a:srgbClr val="D49E6C"/>
              </a:gs>
              <a:gs pos="70000">
                <a:srgbClr val="A65528"/>
              </a:gs>
              <a:gs pos="100000">
                <a:srgbClr val="663012"/>
              </a:gs>
            </a:gsLst>
            <a:path path="circle">
              <a:fillToRect l="50000" t="50000" r="50000" b="50000"/>
            </a:path>
            <a:tileRect/>
          </a:gradFill>
          <a:ln w="38100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none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4400" b="1" spc="50" dirty="0" smtClean="0">
                <a:ln w="11430"/>
                <a:solidFill>
                  <a:srgbClr val="C0504D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IQF</a:t>
            </a:r>
            <a:endParaRPr lang="en-US" sz="4400" b="1" spc="50" dirty="0">
              <a:ln w="11430"/>
              <a:solidFill>
                <a:srgbClr val="C0504D">
                  <a:lumMod val="50000"/>
                </a:srgb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6" name="TextBox 25"/>
          <p:cNvSpPr txBox="1"/>
          <p:nvPr/>
        </p:nvSpPr>
        <p:spPr>
          <a:xfrm rot="2551767">
            <a:off x="1010344" y="2620912"/>
            <a:ext cx="2243081" cy="2312363"/>
          </a:xfrm>
          <a:prstGeom prst="rect">
            <a:avLst/>
          </a:prstGeom>
          <a:noFill/>
        </p:spPr>
        <p:txBody>
          <a:bodyPr wrap="none" rtlCol="0">
            <a:prstTxWarp prst="textCircle">
              <a:avLst>
                <a:gd name="adj" fmla="val 10891871"/>
              </a:avLst>
            </a:prstTxWarp>
            <a:spAutoFit/>
          </a:bodyPr>
          <a:lstStyle/>
          <a:p>
            <a:r>
              <a:rPr lang="en-US" sz="2000" b="1" dirty="0" smtClean="0">
                <a:solidFill>
                  <a:srgbClr val="F79646">
                    <a:lumMod val="50000"/>
                  </a:srgbClr>
                </a:solidFill>
              </a:rPr>
              <a:t>AFFECTIVE DOMAIN</a:t>
            </a:r>
            <a:endParaRPr lang="en-US" sz="2000" b="1" dirty="0">
              <a:solidFill>
                <a:srgbClr val="F79646">
                  <a:lumMod val="50000"/>
                </a:srgbClr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724400" y="4196477"/>
            <a:ext cx="41910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d-ID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aian Pembelajaran</a:t>
            </a:r>
            <a:r>
              <a:rPr lang="en-US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8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id-ID" sz="28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</a:t>
            </a:r>
            <a:r>
              <a:rPr lang="en-US" sz="28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arning </a:t>
            </a:r>
            <a:r>
              <a:rPr lang="id-ID" sz="28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</a:t>
            </a:r>
            <a:r>
              <a:rPr lang="en-US" sz="28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tcomes</a:t>
            </a:r>
            <a:r>
              <a:rPr lang="en-US" sz="28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r>
              <a:rPr lang="id-ID" sz="28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d-ID" sz="2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bih luas cakupannya dibandingkan </a:t>
            </a:r>
            <a:r>
              <a:rPr lang="id-ID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etensi.</a:t>
            </a:r>
            <a:endParaRPr lang="en-US" sz="2800" b="1" dirty="0" smtClean="0">
              <a:solidFill>
                <a:srgbClr val="FF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735689" y="869937"/>
            <a:ext cx="425591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err="1" smtClean="0">
                <a:solidFill>
                  <a:srgbClr val="0070C0"/>
                </a:solidFill>
              </a:rPr>
              <a:t>Deskripsi</a:t>
            </a:r>
            <a:r>
              <a:rPr lang="en-US" sz="2200" b="1" dirty="0" smtClean="0">
                <a:solidFill>
                  <a:srgbClr val="0070C0"/>
                </a:solidFill>
              </a:rPr>
              <a:t> </a:t>
            </a:r>
            <a:r>
              <a:rPr lang="en-US" sz="2200" b="1" dirty="0" err="1" smtClean="0">
                <a:solidFill>
                  <a:srgbClr val="0070C0"/>
                </a:solidFill>
              </a:rPr>
              <a:t>Kualifikasi</a:t>
            </a:r>
            <a:r>
              <a:rPr lang="en-US" sz="2200" b="1" dirty="0" smtClean="0">
                <a:solidFill>
                  <a:srgbClr val="0070C0"/>
                </a:solidFill>
              </a:rPr>
              <a:t> </a:t>
            </a:r>
            <a:r>
              <a:rPr lang="en-US" sz="2200" b="1" dirty="0" err="1" smtClean="0">
                <a:solidFill>
                  <a:srgbClr val="0070C0"/>
                </a:solidFill>
              </a:rPr>
              <a:t>pada</a:t>
            </a:r>
            <a:r>
              <a:rPr lang="en-US" sz="2200" b="1" dirty="0" smtClean="0">
                <a:solidFill>
                  <a:srgbClr val="0070C0"/>
                </a:solidFill>
              </a:rPr>
              <a:t> </a:t>
            </a:r>
            <a:r>
              <a:rPr lang="en-US" sz="2200" b="1" dirty="0" err="1" smtClean="0">
                <a:solidFill>
                  <a:srgbClr val="0070C0"/>
                </a:solidFill>
              </a:rPr>
              <a:t>KKNI</a:t>
            </a:r>
            <a:r>
              <a:rPr lang="en-US" sz="2200" b="1" dirty="0" smtClean="0">
                <a:solidFill>
                  <a:srgbClr val="0070C0"/>
                </a:solidFill>
              </a:rPr>
              <a:t> </a:t>
            </a:r>
            <a:r>
              <a:rPr lang="en-US" sz="2200" b="1" dirty="0" err="1" smtClean="0">
                <a:solidFill>
                  <a:prstClr val="black"/>
                </a:solidFill>
              </a:rPr>
              <a:t>merefleksikan</a:t>
            </a:r>
            <a:r>
              <a:rPr lang="en-US" sz="2200" b="1" dirty="0" smtClean="0">
                <a:solidFill>
                  <a:prstClr val="black"/>
                </a:solidFill>
              </a:rPr>
              <a:t> </a:t>
            </a:r>
            <a:r>
              <a:rPr lang="en-US" sz="2200" b="1" dirty="0" err="1" smtClean="0">
                <a:solidFill>
                  <a:prstClr val="black"/>
                </a:solidFill>
              </a:rPr>
              <a:t>capaian</a:t>
            </a:r>
            <a:r>
              <a:rPr lang="en-US" sz="2200" b="1" dirty="0" smtClean="0">
                <a:solidFill>
                  <a:prstClr val="black"/>
                </a:solidFill>
              </a:rPr>
              <a:t> </a:t>
            </a:r>
            <a:r>
              <a:rPr lang="en-US" sz="2200" b="1" dirty="0" err="1" smtClean="0">
                <a:solidFill>
                  <a:prstClr val="black"/>
                </a:solidFill>
              </a:rPr>
              <a:t>pembelajaran</a:t>
            </a:r>
            <a:r>
              <a:rPr lang="en-US" sz="2200" b="1" dirty="0" smtClean="0">
                <a:solidFill>
                  <a:prstClr val="black"/>
                </a:solidFill>
              </a:rPr>
              <a:t> </a:t>
            </a:r>
            <a:r>
              <a:rPr lang="en-US" sz="2200" b="1" i="1" dirty="0" smtClean="0">
                <a:solidFill>
                  <a:prstClr val="black"/>
                </a:solidFill>
              </a:rPr>
              <a:t>(</a:t>
            </a:r>
            <a:r>
              <a:rPr lang="id-ID" sz="2200" b="1" i="1" dirty="0" smtClean="0">
                <a:solidFill>
                  <a:prstClr val="black"/>
                </a:solidFill>
              </a:rPr>
              <a:t>L</a:t>
            </a:r>
            <a:r>
              <a:rPr lang="en-US" sz="2200" b="1" i="1" dirty="0" smtClean="0">
                <a:solidFill>
                  <a:prstClr val="black"/>
                </a:solidFill>
              </a:rPr>
              <a:t>earning </a:t>
            </a:r>
            <a:r>
              <a:rPr lang="id-ID" sz="2200" b="1" i="1" dirty="0" smtClean="0">
                <a:solidFill>
                  <a:prstClr val="black"/>
                </a:solidFill>
              </a:rPr>
              <a:t>O</a:t>
            </a:r>
            <a:r>
              <a:rPr lang="en-US" sz="2200" b="1" i="1" dirty="0" err="1" smtClean="0">
                <a:solidFill>
                  <a:prstClr val="black"/>
                </a:solidFill>
              </a:rPr>
              <a:t>utcomes</a:t>
            </a:r>
            <a:r>
              <a:rPr lang="en-US" sz="2200" b="1" i="1" dirty="0" smtClean="0">
                <a:solidFill>
                  <a:prstClr val="black"/>
                </a:solidFill>
              </a:rPr>
              <a:t>) </a:t>
            </a:r>
            <a:r>
              <a:rPr lang="en-US" sz="2200" b="1" dirty="0" smtClean="0">
                <a:solidFill>
                  <a:prstClr val="black"/>
                </a:solidFill>
              </a:rPr>
              <a:t>yang  </a:t>
            </a:r>
            <a:r>
              <a:rPr lang="id-ID" sz="2200" b="1" dirty="0" smtClean="0">
                <a:solidFill>
                  <a:prstClr val="black"/>
                </a:solidFill>
              </a:rPr>
              <a:t>di</a:t>
            </a:r>
            <a:r>
              <a:rPr lang="en-US" sz="2200" b="1" dirty="0" err="1" smtClean="0">
                <a:solidFill>
                  <a:prstClr val="black"/>
                </a:solidFill>
              </a:rPr>
              <a:t>peroleh</a:t>
            </a:r>
            <a:r>
              <a:rPr lang="en-US" sz="2200" b="1" dirty="0" smtClean="0">
                <a:solidFill>
                  <a:prstClr val="black"/>
                </a:solidFill>
              </a:rPr>
              <a:t> </a:t>
            </a:r>
            <a:r>
              <a:rPr lang="en-US" sz="2200" b="1" dirty="0" err="1" smtClean="0">
                <a:solidFill>
                  <a:prstClr val="black"/>
                </a:solidFill>
              </a:rPr>
              <a:t>seseorang</a:t>
            </a:r>
            <a:r>
              <a:rPr lang="en-US" sz="2200" b="1" dirty="0" smtClean="0">
                <a:solidFill>
                  <a:prstClr val="black"/>
                </a:solidFill>
              </a:rPr>
              <a:t> </a:t>
            </a:r>
            <a:r>
              <a:rPr lang="en-US" sz="2200" b="1" dirty="0" err="1" smtClean="0">
                <a:solidFill>
                  <a:prstClr val="black"/>
                </a:solidFill>
              </a:rPr>
              <a:t>melalui</a:t>
            </a:r>
            <a:r>
              <a:rPr lang="en-US" sz="2200" b="1" dirty="0" smtClean="0">
                <a:solidFill>
                  <a:prstClr val="black"/>
                </a:solidFill>
              </a:rPr>
              <a:t> </a:t>
            </a:r>
            <a:r>
              <a:rPr lang="en-US" sz="2200" b="1" dirty="0" err="1" smtClean="0">
                <a:solidFill>
                  <a:prstClr val="black"/>
                </a:solidFill>
              </a:rPr>
              <a:t>jalur</a:t>
            </a:r>
            <a:endParaRPr lang="en-US" sz="2200" b="1" dirty="0" smtClean="0">
              <a:solidFill>
                <a:prstClr val="black"/>
              </a:solidFill>
            </a:endParaRPr>
          </a:p>
          <a:p>
            <a:pPr marL="447675" indent="-180975">
              <a:buFont typeface="Arial" pitchFamily="34" charset="0"/>
              <a:buChar char="•"/>
            </a:pPr>
            <a:r>
              <a:rPr lang="en-US" sz="2200" b="1" dirty="0" err="1" smtClean="0">
                <a:solidFill>
                  <a:prstClr val="black"/>
                </a:solidFill>
              </a:rPr>
              <a:t>pendidikan</a:t>
            </a:r>
            <a:endParaRPr lang="en-US" sz="2200" b="1" dirty="0" smtClean="0">
              <a:solidFill>
                <a:prstClr val="black"/>
              </a:solidFill>
            </a:endParaRPr>
          </a:p>
          <a:p>
            <a:pPr marL="447675" indent="-180975">
              <a:buFont typeface="Arial" pitchFamily="34" charset="0"/>
              <a:buChar char="•"/>
            </a:pPr>
            <a:r>
              <a:rPr lang="en-US" sz="2200" b="1" dirty="0" err="1" smtClean="0">
                <a:solidFill>
                  <a:prstClr val="black"/>
                </a:solidFill>
              </a:rPr>
              <a:t>pelatihan</a:t>
            </a:r>
            <a:endParaRPr lang="en-US" sz="2200" b="1" dirty="0" smtClean="0">
              <a:solidFill>
                <a:prstClr val="black"/>
              </a:solidFill>
            </a:endParaRPr>
          </a:p>
          <a:p>
            <a:pPr marL="447675" indent="-180975">
              <a:buFont typeface="Arial" pitchFamily="34" charset="0"/>
              <a:buChar char="•"/>
            </a:pPr>
            <a:r>
              <a:rPr lang="en-US" sz="2200" b="1" dirty="0" err="1" smtClean="0">
                <a:solidFill>
                  <a:prstClr val="black"/>
                </a:solidFill>
              </a:rPr>
              <a:t>pengalaman</a:t>
            </a:r>
            <a:r>
              <a:rPr lang="en-US" sz="2200" b="1" dirty="0" smtClean="0">
                <a:solidFill>
                  <a:prstClr val="black"/>
                </a:solidFill>
              </a:rPr>
              <a:t> </a:t>
            </a:r>
            <a:r>
              <a:rPr lang="en-US" sz="2200" b="1" dirty="0" err="1" smtClean="0">
                <a:solidFill>
                  <a:prstClr val="black"/>
                </a:solidFill>
              </a:rPr>
              <a:t>kerja</a:t>
            </a:r>
            <a:endParaRPr lang="en-US" sz="2200" b="1" dirty="0" smtClean="0">
              <a:solidFill>
                <a:prstClr val="black"/>
              </a:solidFill>
            </a:endParaRPr>
          </a:p>
          <a:p>
            <a:pPr marL="447675" indent="-180975">
              <a:buFont typeface="Arial" pitchFamily="34" charset="0"/>
              <a:buChar char="•"/>
            </a:pPr>
            <a:r>
              <a:rPr lang="en-US" sz="2200" b="1" dirty="0" err="1" smtClean="0">
                <a:solidFill>
                  <a:prstClr val="black"/>
                </a:solidFill>
              </a:rPr>
              <a:t>pembelajaran</a:t>
            </a:r>
            <a:r>
              <a:rPr lang="en-US" sz="2200" b="1" dirty="0" smtClean="0">
                <a:solidFill>
                  <a:prstClr val="black"/>
                </a:solidFill>
              </a:rPr>
              <a:t>  </a:t>
            </a:r>
            <a:r>
              <a:rPr lang="en-US" sz="2200" b="1" dirty="0" err="1" smtClean="0">
                <a:solidFill>
                  <a:prstClr val="black"/>
                </a:solidFill>
              </a:rPr>
              <a:t>mandiri</a:t>
            </a:r>
            <a:endParaRPr lang="en-US" sz="2200" b="1" dirty="0" smtClean="0">
              <a:solidFill>
                <a:prstClr val="black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914400" y="6096000"/>
            <a:ext cx="2895600" cy="228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65000"/>
                  <a:tint val="66000"/>
                  <a:satMod val="160000"/>
                </a:schemeClr>
              </a:gs>
              <a:gs pos="50000">
                <a:schemeClr val="bg1">
                  <a:lumMod val="65000"/>
                  <a:tint val="44500"/>
                  <a:satMod val="160000"/>
                </a:schemeClr>
              </a:gs>
              <a:gs pos="100000">
                <a:schemeClr val="bg1">
                  <a:lumMod val="65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 rot="5400000">
            <a:off x="1793073" y="3779035"/>
            <a:ext cx="5558648" cy="794"/>
          </a:xfrm>
          <a:prstGeom prst="line">
            <a:avLst/>
          </a:prstGeom>
          <a:ln w="571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sz="2000" b="1" dirty="0" smtClean="0">
                <a:solidFill>
                  <a:srgbClr val="FFFF66"/>
                </a:solidFill>
                <a:latin typeface="Arial Unicode MS" pitchFamily="34" charset="-128"/>
              </a:rPr>
              <a:t>DESKRIPSI KUALIFIKASI PADA KKNI</a:t>
            </a:r>
            <a:endParaRPr lang="en-US" sz="2000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58526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Rectangle 1"/>
          <p:cNvSpPr/>
          <p:nvPr/>
        </p:nvSpPr>
        <p:spPr>
          <a:xfrm>
            <a:off x="4211960" y="2204864"/>
            <a:ext cx="2088232" cy="12961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prstClr val="white"/>
                </a:solidFill>
              </a:rPr>
              <a:t>PENGUASAAN PENGETAHUAN</a:t>
            </a:r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24511" y="3573016"/>
            <a:ext cx="2088232" cy="12961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prstClr val="white"/>
                </a:solidFill>
              </a:rPr>
              <a:t>KETERAMPILAN KHUSUS</a:t>
            </a:r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211960" y="4929213"/>
            <a:ext cx="2088232" cy="12961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prstClr val="white"/>
                </a:solidFill>
              </a:rPr>
              <a:t>KETERAMPILAN UMUM</a:t>
            </a:r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211960" y="490364"/>
            <a:ext cx="2088232" cy="16424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800" dirty="0" smtClean="0">
                <a:solidFill>
                  <a:prstClr val="white"/>
                </a:solidFill>
              </a:rPr>
              <a:t>SIKAP</a:t>
            </a:r>
            <a:endParaRPr lang="id-ID" sz="2800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228184" y="-13985"/>
            <a:ext cx="1936521" cy="1200329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P</a:t>
            </a:r>
            <a:r>
              <a:rPr lang="id-ID" b="1" dirty="0" smtClean="0">
                <a:solidFill>
                  <a:prstClr val="black"/>
                </a:solidFill>
              </a:rPr>
              <a:t>ermendikbud </a:t>
            </a:r>
          </a:p>
          <a:p>
            <a:pPr algn="ctr"/>
            <a:r>
              <a:rPr lang="id-ID" b="1" dirty="0" smtClean="0">
                <a:solidFill>
                  <a:prstClr val="black"/>
                </a:solidFill>
              </a:rPr>
              <a:t>No 49 tahun 2014</a:t>
            </a:r>
          </a:p>
          <a:p>
            <a:pPr algn="ctr"/>
            <a:r>
              <a:rPr lang="id-ID" b="1" dirty="0" smtClean="0">
                <a:solidFill>
                  <a:prstClr val="black"/>
                </a:solidFill>
              </a:rPr>
              <a:t>Tentang</a:t>
            </a:r>
          </a:p>
          <a:p>
            <a:pPr algn="ctr"/>
            <a:r>
              <a:rPr lang="id-ID" b="1" dirty="0" smtClean="0">
                <a:solidFill>
                  <a:prstClr val="black"/>
                </a:solidFill>
              </a:rPr>
              <a:t>SNPT</a:t>
            </a:r>
            <a:endParaRPr lang="id-ID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71298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Rectangle 2"/>
          <p:cNvSpPr/>
          <p:nvPr/>
        </p:nvSpPr>
        <p:spPr>
          <a:xfrm>
            <a:off x="3929063" y="2714636"/>
            <a:ext cx="92869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32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FFFF00"/>
                </a:solidFill>
              </a:rPr>
              <a:t>SpQ</a:t>
            </a:r>
            <a:endParaRPr lang="en-US" sz="32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rgbClr val="FFFF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214947" y="2772803"/>
            <a:ext cx="92869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32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FFFF00"/>
                </a:solidFill>
              </a:rPr>
              <a:t>EQ</a:t>
            </a:r>
            <a:endParaRPr lang="en-US" sz="32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rgbClr val="FFFF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14947" y="3714760"/>
            <a:ext cx="92869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32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FFFF00"/>
                </a:solidFill>
              </a:rPr>
              <a:t>IQ</a:t>
            </a:r>
            <a:endParaRPr lang="en-US" sz="32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rgbClr val="FFFF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29063" y="3643316"/>
            <a:ext cx="928694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32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FFFF00"/>
                </a:solidFill>
              </a:rPr>
              <a:t>SQ</a:t>
            </a:r>
            <a:endParaRPr lang="en-US" sz="32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rgbClr val="FFFF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2411760" cy="1988840"/>
          </a:xfrm>
          <a:prstGeom prst="rect">
            <a:avLst/>
          </a:prstGeom>
          <a:solidFill>
            <a:srgbClr val="CED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1"/>
                </a:solidFill>
                <a:latin typeface="Arial Black" pitchFamily="34" charset="0"/>
              </a:rPr>
              <a:t>EMPAT RANAH SKL KKNI</a:t>
            </a:r>
            <a:endParaRPr lang="id-ID" sz="2400" b="1" dirty="0">
              <a:solidFill>
                <a:schemeClr val="tx1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50084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/>
        </p:nvSpPr>
        <p:spPr>
          <a:xfrm>
            <a:off x="1625690" y="2880927"/>
            <a:ext cx="2429484" cy="2243546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b="1">
                <a:solidFill>
                  <a:srgbClr val="FF0000"/>
                </a:solidFill>
                <a:latin typeface="Candara" charset="0"/>
                <a:ea typeface="Candara" charset="0"/>
                <a:cs typeface="Candara" charset="0"/>
              </a:rPr>
              <a:t>Cognitive</a:t>
            </a:r>
          </a:p>
          <a:p>
            <a:r>
              <a:rPr lang="en-US" sz="1350" b="1">
                <a:solidFill>
                  <a:srgbClr val="FF0000"/>
                </a:solidFill>
                <a:latin typeface="Candara" charset="0"/>
                <a:ea typeface="Candara" charset="0"/>
                <a:cs typeface="Candara" charset="0"/>
              </a:rPr>
              <a:t>Affective</a:t>
            </a:r>
          </a:p>
          <a:p>
            <a:r>
              <a:rPr lang="en-US" sz="1350" b="1">
                <a:solidFill>
                  <a:srgbClr val="FF0000"/>
                </a:solidFill>
                <a:latin typeface="Candara" charset="0"/>
                <a:ea typeface="Candara" charset="0"/>
                <a:cs typeface="Candara" charset="0"/>
              </a:rPr>
              <a:t>Psychomotor</a:t>
            </a:r>
          </a:p>
        </p:txBody>
      </p:sp>
      <p:sp>
        <p:nvSpPr>
          <p:cNvPr id="5" name="Oval 4"/>
          <p:cNvSpPr/>
          <p:nvPr/>
        </p:nvSpPr>
        <p:spPr>
          <a:xfrm>
            <a:off x="4470039" y="2880927"/>
            <a:ext cx="2429484" cy="224354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50" b="1">
                <a:latin typeface="Candara" charset="0"/>
                <a:ea typeface="Candara" charset="0"/>
                <a:cs typeface="Candara" charset="0"/>
              </a:rPr>
              <a:t>Learning </a:t>
            </a:r>
          </a:p>
          <a:p>
            <a:pPr algn="r"/>
            <a:r>
              <a:rPr lang="en-US" sz="1650" b="1">
                <a:latin typeface="Candara" charset="0"/>
                <a:ea typeface="Candara" charset="0"/>
                <a:cs typeface="Candara" charset="0"/>
              </a:rPr>
              <a:t>Outcome</a:t>
            </a:r>
          </a:p>
        </p:txBody>
      </p:sp>
      <p:sp>
        <p:nvSpPr>
          <p:cNvPr id="4" name="Rectangle 3"/>
          <p:cNvSpPr/>
          <p:nvPr/>
        </p:nvSpPr>
        <p:spPr>
          <a:xfrm>
            <a:off x="3058994" y="2891236"/>
            <a:ext cx="2504402" cy="52779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500" b="1">
                <a:solidFill>
                  <a:sysClr val="windowText" lastClr="000000"/>
                </a:solidFill>
                <a:latin typeface="Candara" charset="0"/>
                <a:ea typeface="Candara" charset="0"/>
                <a:cs typeface="Candara" charset="0"/>
              </a:rPr>
              <a:t>Pembelajaran</a:t>
            </a:r>
          </a:p>
        </p:txBody>
      </p:sp>
      <p:sp>
        <p:nvSpPr>
          <p:cNvPr id="7" name="Rectangle 6"/>
          <p:cNvSpPr/>
          <p:nvPr/>
        </p:nvSpPr>
        <p:spPr>
          <a:xfrm>
            <a:off x="3058994" y="4550383"/>
            <a:ext cx="2504402" cy="5826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500" b="1">
                <a:solidFill>
                  <a:sysClr val="windowText" lastClr="000000"/>
                </a:solidFill>
                <a:latin typeface="Candara" charset="0"/>
                <a:ea typeface="Candara" charset="0"/>
                <a:cs typeface="Candara" charset="0"/>
              </a:rPr>
              <a:t>Pengalaman selama studi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6589" y="3414689"/>
            <a:ext cx="2516807" cy="54318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500" b="1">
                <a:solidFill>
                  <a:sysClr val="windowText" lastClr="000000"/>
                </a:solidFill>
                <a:latin typeface="Candara" charset="0"/>
                <a:ea typeface="Candara" charset="0"/>
                <a:cs typeface="Candara" charset="0"/>
              </a:rPr>
              <a:t>Pembelajaran melalui penelitian</a:t>
            </a:r>
          </a:p>
        </p:txBody>
      </p:sp>
      <p:sp>
        <p:nvSpPr>
          <p:cNvPr id="9" name="Rectangle 8"/>
          <p:cNvSpPr/>
          <p:nvPr/>
        </p:nvSpPr>
        <p:spPr>
          <a:xfrm>
            <a:off x="3046590" y="3956036"/>
            <a:ext cx="2516806" cy="5992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500" b="1">
                <a:solidFill>
                  <a:sysClr val="windowText" lastClr="000000"/>
                </a:solidFill>
                <a:latin typeface="Candara" charset="0"/>
                <a:ea typeface="Candara" charset="0"/>
                <a:cs typeface="Candara" charset="0"/>
              </a:rPr>
              <a:t>Pembelajaran melalui pengabdia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765548" y="2080869"/>
            <a:ext cx="54089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/>
              <a:t>Peraturan</a:t>
            </a:r>
            <a:r>
              <a:rPr lang="en-US" sz="2400" b="1" dirty="0"/>
              <a:t> </a:t>
            </a:r>
            <a:r>
              <a:rPr lang="en-US" sz="2400" b="1" dirty="0" err="1"/>
              <a:t>Pemerintah</a:t>
            </a:r>
            <a:r>
              <a:rPr lang="en-US" sz="2400" b="1" dirty="0"/>
              <a:t> No.44 </a:t>
            </a:r>
            <a:r>
              <a:rPr lang="en-US" sz="2400" b="1" dirty="0" err="1"/>
              <a:t>tahun</a:t>
            </a:r>
            <a:r>
              <a:rPr lang="en-US" sz="2400" b="1" dirty="0"/>
              <a:t> 2015 </a:t>
            </a: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sz="2000" b="1" dirty="0" smtClean="0">
                <a:solidFill>
                  <a:srgbClr val="FFFF66"/>
                </a:solidFill>
                <a:latin typeface="Arial Unicode MS" pitchFamily="34" charset="-128"/>
              </a:rPr>
              <a:t>PP TENTANG  KURIKULUM</a:t>
            </a:r>
            <a:endParaRPr lang="en-US" sz="2000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23051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4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2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5" grpId="0" animBg="1"/>
      <p:bldP spid="4" grpId="0" animBg="1"/>
      <p:bldP spid="7" grpId="0" animBg="1"/>
      <p:bldP spid="8" grpId="0" animBg="1"/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AutoShape 2"/>
          <p:cNvSpPr>
            <a:spLocks noChangeArrowheads="1"/>
          </p:cNvSpPr>
          <p:nvPr/>
        </p:nvSpPr>
        <p:spPr bwMode="auto">
          <a:xfrm>
            <a:off x="2914650" y="696044"/>
            <a:ext cx="3276600" cy="2819400"/>
          </a:xfrm>
          <a:prstGeom prst="roundRect">
            <a:avLst>
              <a:gd name="adj" fmla="val 16667"/>
            </a:avLst>
          </a:prstGeom>
          <a:solidFill>
            <a:srgbClr val="F4E95A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id-ID"/>
          </a:p>
        </p:txBody>
      </p:sp>
      <p:sp>
        <p:nvSpPr>
          <p:cNvPr id="28675" name="Text Box 3"/>
          <p:cNvSpPr txBox="1">
            <a:spLocks noChangeArrowheads="1"/>
          </p:cNvSpPr>
          <p:nvPr/>
        </p:nvSpPr>
        <p:spPr bwMode="auto">
          <a:xfrm>
            <a:off x="3048000" y="2229569"/>
            <a:ext cx="31242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3600" b="1">
                <a:latin typeface="Comic Sans MS" panose="030F0702030302020204" pitchFamily="66" charset="0"/>
              </a:rPr>
              <a:t>SARJANA</a:t>
            </a:r>
          </a:p>
        </p:txBody>
      </p:sp>
      <p:sp>
        <p:nvSpPr>
          <p:cNvPr id="45060" name="Text Box 4"/>
          <p:cNvSpPr txBox="1">
            <a:spLocks noChangeArrowheads="1"/>
          </p:cNvSpPr>
          <p:nvPr/>
        </p:nvSpPr>
        <p:spPr bwMode="auto">
          <a:xfrm>
            <a:off x="5486400" y="4864819"/>
            <a:ext cx="3200400" cy="140652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92100" indent="-2921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US" sz="2400">
                <a:solidFill>
                  <a:srgbClr val="C285FF"/>
                </a:solidFill>
                <a:latin typeface="Arial Black" panose="020B0A04020102020204" pitchFamily="34" charset="0"/>
              </a:rPr>
              <a:t>Intrapersonal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US" sz="2400">
                <a:solidFill>
                  <a:srgbClr val="C285FF"/>
                </a:solidFill>
                <a:latin typeface="Arial Black" panose="020B0A04020102020204" pitchFamily="34" charset="0"/>
              </a:rPr>
              <a:t>Interpersonal</a:t>
            </a:r>
          </a:p>
          <a:p>
            <a:pPr eaLnBrk="1" hangingPunct="1">
              <a:spcBef>
                <a:spcPct val="30000"/>
              </a:spcBef>
              <a:buFontTx/>
              <a:buChar char="•"/>
            </a:pPr>
            <a:r>
              <a:rPr lang="en-US" sz="2400">
                <a:solidFill>
                  <a:srgbClr val="C285FF"/>
                </a:solidFill>
                <a:latin typeface="Arial Black" panose="020B0A04020102020204" pitchFamily="34" charset="0"/>
              </a:rPr>
              <a:t>Ekstrapersonal </a:t>
            </a:r>
          </a:p>
        </p:txBody>
      </p:sp>
      <p:sp>
        <p:nvSpPr>
          <p:cNvPr id="45061" name="Text Box 5" descr="Recycled paper"/>
          <p:cNvSpPr txBox="1">
            <a:spLocks noChangeArrowheads="1"/>
          </p:cNvSpPr>
          <p:nvPr/>
        </p:nvSpPr>
        <p:spPr bwMode="auto">
          <a:xfrm>
            <a:off x="76200" y="4863232"/>
            <a:ext cx="3733800" cy="1662112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 xmlns="">
                <a:blipFill dpi="0" rotWithShape="1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92100" indent="-2921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30000"/>
              </a:spcBef>
              <a:buFontTx/>
              <a:buChar char="•"/>
            </a:pPr>
            <a:r>
              <a:rPr lang="en-US" sz="2400">
                <a:solidFill>
                  <a:srgbClr val="FF0066"/>
                </a:solidFill>
                <a:latin typeface="Arial Black" panose="020B0A04020102020204" pitchFamily="34" charset="0"/>
              </a:rPr>
              <a:t>Knowledge       </a:t>
            </a:r>
            <a:r>
              <a:rPr lang="en-US" sz="2400">
                <a:solidFill>
                  <a:srgbClr val="F4E95A"/>
                </a:solidFill>
                <a:latin typeface="Arial Black" panose="020B0A04020102020204" pitchFamily="34" charset="0"/>
              </a:rPr>
              <a:t>(ilmu pengetahuan)</a:t>
            </a:r>
          </a:p>
          <a:p>
            <a:pPr algn="r" eaLnBrk="1" hangingPunct="1">
              <a:spcBef>
                <a:spcPct val="30000"/>
              </a:spcBef>
              <a:buFontTx/>
              <a:buChar char="•"/>
            </a:pPr>
            <a:r>
              <a:rPr lang="en-US" sz="2400">
                <a:solidFill>
                  <a:srgbClr val="FF0066"/>
                </a:solidFill>
                <a:latin typeface="Arial Black" panose="020B0A04020102020204" pitchFamily="34" charset="0"/>
              </a:rPr>
              <a:t>Skill/ ketrampilan </a:t>
            </a:r>
            <a:r>
              <a:rPr lang="en-US" sz="2400">
                <a:solidFill>
                  <a:srgbClr val="F4E95A"/>
                </a:solidFill>
                <a:latin typeface="Arial Black" panose="020B0A04020102020204" pitchFamily="34" charset="0"/>
              </a:rPr>
              <a:t>(teknologi)</a:t>
            </a:r>
          </a:p>
        </p:txBody>
      </p:sp>
      <p:sp>
        <p:nvSpPr>
          <p:cNvPr id="28678" name="Rectangle 6"/>
          <p:cNvSpPr>
            <a:spLocks noChangeArrowheads="1"/>
          </p:cNvSpPr>
          <p:nvPr/>
        </p:nvSpPr>
        <p:spPr bwMode="auto">
          <a:xfrm>
            <a:off x="3581400" y="2759794"/>
            <a:ext cx="2116138" cy="4572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9999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5" tIns="45699" rIns="91395" bIns="4569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</a:pPr>
            <a:r>
              <a:rPr lang="en-US" sz="2400" b="1" dirty="0" smtClean="0">
                <a:solidFill>
                  <a:srgbClr val="9900CC"/>
                </a:solidFill>
                <a:latin typeface="Arial Black" panose="020B0A04020102020204" pitchFamily="34" charset="0"/>
              </a:rPr>
              <a:t>KOMPETEN</a:t>
            </a:r>
            <a:endParaRPr lang="id-ID" sz="2400" b="1" dirty="0">
              <a:solidFill>
                <a:srgbClr val="9900CC"/>
              </a:solidFill>
              <a:latin typeface="Arial Black" panose="020B0A04020102020204" pitchFamily="34" charset="0"/>
            </a:endParaRPr>
          </a:p>
        </p:txBody>
      </p:sp>
      <p:pic>
        <p:nvPicPr>
          <p:cNvPr id="28679" name="Picture 7" descr="GRADUAT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38600" y="962744"/>
            <a:ext cx="1109663" cy="1143000"/>
          </a:xfrm>
          <a:prstGeom prst="rect">
            <a:avLst/>
          </a:prstGeom>
          <a:noFill/>
          <a:ln w="9525">
            <a:solidFill>
              <a:srgbClr val="9900CC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45064" name="Group 8"/>
          <p:cNvGrpSpPr>
            <a:grpSpLocks/>
          </p:cNvGrpSpPr>
          <p:nvPr/>
        </p:nvGrpSpPr>
        <p:grpSpPr bwMode="auto">
          <a:xfrm>
            <a:off x="1905000" y="3248744"/>
            <a:ext cx="2505075" cy="1309688"/>
            <a:chOff x="1200" y="1824"/>
            <a:chExt cx="1578" cy="825"/>
          </a:xfrm>
        </p:grpSpPr>
        <p:sp>
          <p:nvSpPr>
            <p:cNvPr id="28684" name="WordArt 9"/>
            <p:cNvSpPr>
              <a:spLocks noChangeArrowheads="1" noChangeShapeType="1" noTextEdit="1"/>
            </p:cNvSpPr>
            <p:nvPr/>
          </p:nvSpPr>
          <p:spPr bwMode="auto">
            <a:xfrm>
              <a:off x="1200" y="2217"/>
              <a:ext cx="1104" cy="432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r"/>
              <a:r>
                <a:rPr lang="id-ID" sz="3600" kern="10" normalizeH="1">
                  <a:solidFill>
                    <a:srgbClr val="FF0000"/>
                  </a:solidFill>
                  <a:effectLst>
                    <a:outerShdw dist="45791" dir="3378596" algn="ctr" rotWithShape="0">
                      <a:srgbClr val="4D4D4D">
                        <a:alpha val="79999"/>
                      </a:srgbClr>
                    </a:outerShdw>
                  </a:effectLst>
                  <a:latin typeface="Arial Black" panose="020B0A04020102020204" pitchFamily="34" charset="0"/>
                </a:rPr>
                <a:t>HARD</a:t>
              </a:r>
            </a:p>
            <a:p>
              <a:pPr algn="r"/>
              <a:r>
                <a:rPr lang="id-ID" sz="3600" kern="10" normalizeH="1">
                  <a:solidFill>
                    <a:srgbClr val="FF0000"/>
                  </a:solidFill>
                  <a:effectLst>
                    <a:outerShdw dist="45791" dir="3378596" algn="ctr" rotWithShape="0">
                      <a:srgbClr val="4D4D4D">
                        <a:alpha val="79999"/>
                      </a:srgbClr>
                    </a:outerShdw>
                  </a:effectLst>
                  <a:latin typeface="Arial Black" panose="020B0A04020102020204" pitchFamily="34" charset="0"/>
                </a:rPr>
                <a:t>SKILLS</a:t>
              </a:r>
            </a:p>
          </p:txBody>
        </p:sp>
        <p:sp>
          <p:nvSpPr>
            <p:cNvPr id="28685" name="AutoShape 10"/>
            <p:cNvSpPr>
              <a:spLocks noChangeArrowheads="1"/>
            </p:cNvSpPr>
            <p:nvPr/>
          </p:nvSpPr>
          <p:spPr bwMode="auto">
            <a:xfrm rot="5400000">
              <a:off x="2275" y="2087"/>
              <a:ext cx="765" cy="240"/>
            </a:xfrm>
            <a:prstGeom prst="curvedDownArrow">
              <a:avLst>
                <a:gd name="adj1" fmla="val 63750"/>
                <a:gd name="adj2" fmla="val 127500"/>
                <a:gd name="adj3" fmla="val 33333"/>
              </a:avLst>
            </a:prstGeom>
            <a:solidFill>
              <a:srgbClr val="F4E95A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45067" name="Group 11"/>
          <p:cNvGrpSpPr>
            <a:grpSpLocks/>
          </p:cNvGrpSpPr>
          <p:nvPr/>
        </p:nvGrpSpPr>
        <p:grpSpPr bwMode="auto">
          <a:xfrm>
            <a:off x="4778375" y="3248744"/>
            <a:ext cx="2613025" cy="1309688"/>
            <a:chOff x="3010" y="1824"/>
            <a:chExt cx="1646" cy="825"/>
          </a:xfrm>
        </p:grpSpPr>
        <p:sp>
          <p:nvSpPr>
            <p:cNvPr id="28682" name="WordArt 12"/>
            <p:cNvSpPr>
              <a:spLocks noChangeArrowheads="1" noChangeShapeType="1" noTextEdit="1"/>
            </p:cNvSpPr>
            <p:nvPr/>
          </p:nvSpPr>
          <p:spPr bwMode="auto">
            <a:xfrm>
              <a:off x="3552" y="2169"/>
              <a:ext cx="1104" cy="48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r>
                <a:rPr lang="id-ID" sz="3600" kern="10" normalizeH="1">
                  <a:solidFill>
                    <a:srgbClr val="9900CC">
                      <a:alpha val="74901"/>
                    </a:srgbClr>
                  </a:solidFill>
                  <a:effectLst>
                    <a:outerShdw dist="35921" dir="2700000" algn="ctr" rotWithShape="0">
                      <a:srgbClr val="454567"/>
                    </a:outerShdw>
                  </a:effectLst>
                  <a:latin typeface="Arial Black" panose="020B0A04020102020204" pitchFamily="34" charset="0"/>
                </a:rPr>
                <a:t>SOFT</a:t>
              </a:r>
            </a:p>
            <a:p>
              <a:r>
                <a:rPr lang="id-ID" sz="3600" kern="10" normalizeH="1">
                  <a:solidFill>
                    <a:srgbClr val="9900CC">
                      <a:alpha val="74901"/>
                    </a:srgbClr>
                  </a:solidFill>
                  <a:effectLst>
                    <a:outerShdw dist="35921" dir="2700000" algn="ctr" rotWithShape="0">
                      <a:srgbClr val="454567"/>
                    </a:outerShdw>
                  </a:effectLst>
                  <a:latin typeface="Arial Black" panose="020B0A04020102020204" pitchFamily="34" charset="0"/>
                </a:rPr>
                <a:t>SKILLS</a:t>
              </a:r>
            </a:p>
          </p:txBody>
        </p:sp>
        <p:sp>
          <p:nvSpPr>
            <p:cNvPr id="28683" name="AutoShape 13"/>
            <p:cNvSpPr>
              <a:spLocks noChangeArrowheads="1"/>
            </p:cNvSpPr>
            <p:nvPr/>
          </p:nvSpPr>
          <p:spPr bwMode="auto">
            <a:xfrm>
              <a:off x="3010" y="1824"/>
              <a:ext cx="288" cy="765"/>
            </a:xfrm>
            <a:prstGeom prst="curvedRightArrow">
              <a:avLst>
                <a:gd name="adj1" fmla="val 53125"/>
                <a:gd name="adj2" fmla="val 106250"/>
                <a:gd name="adj3" fmla="val 33333"/>
              </a:avLst>
            </a:prstGeom>
            <a:solidFill>
              <a:srgbClr val="F4E95A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id-ID"/>
            </a:p>
          </p:txBody>
        </p:sp>
      </p:grp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0" y="0"/>
            <a:ext cx="9124332" cy="47667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id-ID" sz="2000" b="1" dirty="0" smtClean="0">
                <a:solidFill>
                  <a:srgbClr val="FFFF66"/>
                </a:solidFill>
                <a:latin typeface="Arial Unicode MS" pitchFamily="34" charset="-128"/>
              </a:rPr>
              <a:t>DIBUTUHKAN HARD SKILLS DAN SOFT SKILLS</a:t>
            </a:r>
            <a:endParaRPr lang="en-US" sz="2000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11810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1000"/>
                                        <p:tgtEl>
                                          <p:spTgt spid="450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1000"/>
                                        <p:tgtEl>
                                          <p:spTgt spid="450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450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2" dur="500"/>
                                        <p:tgtEl>
                                          <p:spTgt spid="45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060" grpId="0"/>
      <p:bldP spid="4506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Tenva7m0WSqkeNGGvX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4dhfk2B0i7Uy_VhoDu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GS7mlz_kGWRJZ84SPv6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27</TotalTime>
  <Words>561</Words>
  <Application>Microsoft Office PowerPoint</Application>
  <PresentationFormat>On-screen Show (4:3)</PresentationFormat>
  <Paragraphs>164</Paragraphs>
  <Slides>15</Slides>
  <Notes>8</Notes>
  <HiddenSlides>1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Office Theme</vt:lpstr>
      <vt:lpstr>1_Office Them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INTER-PERSONAL SKILL</vt:lpstr>
      <vt:lpstr>INTRA-PERSONAL SKILL</vt:lpstr>
      <vt:lpstr>Slide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</dc:creator>
  <cp:lastModifiedBy>Prapto</cp:lastModifiedBy>
  <cp:revision>954</cp:revision>
  <dcterms:created xsi:type="dcterms:W3CDTF">2014-08-04T11:06:16Z</dcterms:created>
  <dcterms:modified xsi:type="dcterms:W3CDTF">2020-08-19T14:30:05Z</dcterms:modified>
</cp:coreProperties>
</file>